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9.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41"/>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 id="2147475200" r:id="rId32"/>
    <p:sldId id="2147475201" r:id="rId33"/>
    <p:sldId id="2147475202" r:id="rId34"/>
    <p:sldId id="2147475203" r:id="rId35"/>
    <p:sldId id="2147475204" r:id="rId36"/>
    <p:sldId id="2147475205" r:id="rId37"/>
    <p:sldId id="2147475206" r:id="rId38"/>
    <p:sldId id="2147475207" r:id="rId39"/>
    <p:sldId id="2147475208" r:id="rId40"/>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Category" id="{63C895ED-C874-4280-BBAB-0D61DCB639A3}">
          <p14:sldIdLst>
            <p14:sldId id="2147475173"/>
            <p14:sldId id="2147475174"/>
            <p14:sldId id="2147475175"/>
            <p14:sldId id="2147475176"/>
            <p14:sldId id="2147475177"/>
            <p14:sldId id="2147475178"/>
            <p14:sldId id="2147475179"/>
            <p14:sldId id="2147475180"/>
            <p14:sldId id="2147475181"/>
          </p14:sldIdLst>
        </p14:section>
        <p14:section name="Brackets By Sector" id="{31D2553C-C7AE-4C61-82DF-F95D0BE39924}">
          <p14:sldIdLst>
            <p14:sldId id="2147475182"/>
            <p14:sldId id="2147475183"/>
            <p14:sldId id="2147475184"/>
            <p14:sldId id="2147475185"/>
            <p14:sldId id="2147475186"/>
            <p14:sldId id="2147475187"/>
            <p14:sldId id="2147475188"/>
            <p14:sldId id="2147475189"/>
            <p14:sldId id="2147475190"/>
          </p14:sldIdLst>
        </p14:section>
        <p14:section name="Brackets By Segment" id="{7F394B52-6439-4570-9244-E32C1B17CAEB}">
          <p14:sldIdLst>
            <p14:sldId id="2147475191"/>
            <p14:sldId id="2147475192"/>
            <p14:sldId id="2147475193"/>
            <p14:sldId id="2147475194"/>
            <p14:sldId id="2147475195"/>
            <p14:sldId id="2147475196"/>
            <p14:sldId id="2147475197"/>
            <p14:sldId id="2147475198"/>
            <p14:sldId id="2147475199"/>
            <p14:sldId id="2147475200"/>
            <p14:sldId id="2147475201"/>
            <p14:sldId id="2147475202"/>
            <p14:sldId id="2147475203"/>
            <p14:sldId id="2147475204"/>
            <p14:sldId id="2147475205"/>
            <p14:sldId id="2147475206"/>
            <p14:sldId id="2147475207"/>
            <p14:sldId id="2147475208"/>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48" d="100"/>
          <a:sy n="48" d="100"/>
        </p:scale>
        <p:origin x="726" y="36"/>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 Id="rId46" Type="http://schemas.microsoft.com/office/2015/10/relationships/revisionInfo" Target="revisionInfo.xml"/><Relationship Id="rId47"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c:v>
                </c:pt>
                <c:pt idx="1">
                  <c:v>0.01639080822621522</c:v>
                </c:pt>
                <c:pt idx="2">
                  <c:v>0.028305055337770453</c:v>
                </c:pt>
                <c:pt idx="3">
                  <c:v>0.042299900341770766</c:v>
                </c:pt>
                <c:pt idx="4">
                  <c:v>0.08700220015339835</c:v>
                </c:pt>
                <c:pt idx="5">
                  <c:v>0.09608248837393922</c:v>
                </c:pt>
                <c:pt idx="6">
                  <c:v>0.1148106631886456</c:v>
                </c:pt>
                <c:pt idx="7">
                  <c:v>0.1644390142958639</c:v>
                </c:pt>
                <c:pt idx="8">
                  <c:v>0.21200061384242316</c:v>
                </c:pt>
                <c:pt idx="9">
                  <c:v>0.11609279258285989</c:v>
                </c:pt>
                <c:pt idx="10">
                  <c:v>0.0605008730541998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3943019083519984</c:v>
                </c:pt>
                <c:pt idx="3">
                  <c:v>0.002775978269537971</c:v>
                </c:pt>
                <c:pt idx="5">
                  <c:v>0.0019749023285045237</c:v>
                </c:pt>
                <c:pt idx="6">
                  <c:v>0.001754079444177327</c:v>
                </c:pt>
                <c:pt idx="7">
                  <c:v>0.004794791525400081</c:v>
                </c:pt>
                <c:pt idx="8">
                  <c:v>0.00444446284614731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4</c:v>
                </c:pt>
                <c:pt idx="6">
                  <c:v>0.03458659078408784</c:v>
                </c:pt>
                <c:pt idx="7">
                  <c:v>0.164633817437624</c:v>
                </c:pt>
                <c:pt idx="8">
                  <c:v>0.2164237616324487</c:v>
                </c:pt>
                <c:pt idx="9">
                  <c:v>0.21428098529602463</c:v>
                </c:pt>
                <c:pt idx="10">
                  <c:v>0.30356967226418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590470800935679</c:v>
                </c:pt>
                <c:pt idx="9">
                  <c:v>0.035688714329063696</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57</c:v>
                </c:pt>
                <c:pt idx="8">
                  <c:v>0.20795372780999538</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687721138806102</c:v>
                </c:pt>
                <c:pt idx="4">
                  <c:v>0.00413778096601834</c:v>
                </c:pt>
                <c:pt idx="5">
                  <c:v>0.005769305124771625</c:v>
                </c:pt>
                <c:pt idx="6">
                  <c:v>0.0028979991016709087</c:v>
                </c:pt>
                <c:pt idx="7">
                  <c:v>0.006704058442431768</c:v>
                </c:pt>
                <c:pt idx="8">
                  <c:v>0.0020856655822744283</c:v>
                </c:pt>
                <c:pt idx="9">
                  <c:v>0.0018707747056201961</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5</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5311791428824259</c:v>
                </c:pt>
                <c:pt idx="9">
                  <c:v>0.0902657475903552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4</c:v>
                </c:pt>
                <c:pt idx="1">
                  <c:v>0.010631957095508139</c:v>
                </c:pt>
                <c:pt idx="2">
                  <c:v>0.017221234411258928</c:v>
                </c:pt>
                <c:pt idx="3">
                  <c:v>0.06680775222126653</c:v>
                </c:pt>
                <c:pt idx="4">
                  <c:v>0.04925062777639062</c:v>
                </c:pt>
                <c:pt idx="5">
                  <c:v>0.11852846252856482</c:v>
                </c:pt>
                <c:pt idx="6">
                  <c:v>0.13127207598354879</c:v>
                </c:pt>
                <c:pt idx="7">
                  <c:v>0.18044499841671938</c:v>
                </c:pt>
                <c:pt idx="8">
                  <c:v>0.23112965900723814</c:v>
                </c:pt>
                <c:pt idx="9">
                  <c:v>0.10923037007143091</c:v>
                </c:pt>
                <c:pt idx="10">
                  <c:v>0.0689005080357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5243422027842138</c:v>
                </c:pt>
                <c:pt idx="2">
                  <c:v>0.002102034168663126</c:v>
                </c:pt>
                <c:pt idx="3">
                  <c:v>0.010576402164695872</c:v>
                </c:pt>
                <c:pt idx="4">
                  <c:v>0.006137762164272656</c:v>
                </c:pt>
                <c:pt idx="5">
                  <c:v>0.004654780621441087</c:v>
                </c:pt>
                <c:pt idx="6">
                  <c:v>0.0013971078968719594</c:v>
                </c:pt>
                <c:pt idx="7">
                  <c:v>0.012103558866146936</c:v>
                </c:pt>
                <c:pt idx="8">
                  <c:v>0.001874046017945171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4</c:v>
                </c:pt>
                <c:pt idx="2">
                  <c:v>0.021276504885351145</c:v>
                </c:pt>
                <c:pt idx="3">
                  <c:v>0.03946846894890925</c:v>
                </c:pt>
                <c:pt idx="4">
                  <c:v>0.05155774407910629</c:v>
                </c:pt>
                <c:pt idx="5">
                  <c:v>0.10236317325345326</c:v>
                </c:pt>
                <c:pt idx="6">
                  <c:v>0.1307466067294137</c:v>
                </c:pt>
                <c:pt idx="7">
                  <c:v>0.17793801242919713</c:v>
                </c:pt>
                <c:pt idx="8">
                  <c:v>0.2564205262308883</c:v>
                </c:pt>
                <c:pt idx="9">
                  <c:v>0.10337145839958195</c:v>
                </c:pt>
                <c:pt idx="10">
                  <c:v>0.081802452183766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12992137567346953</c:v>
                </c:pt>
                <c:pt idx="6">
                  <c:v>0.0017253640500615628</c:v>
                </c:pt>
                <c:pt idx="7">
                  <c:v>0.003580900132953554</c:v>
                </c:pt>
                <c:pt idx="8">
                  <c:v>0.010568384492545829</c:v>
                </c:pt>
                <c:pt idx="9">
                  <c:v>0.0010923151242189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68</c:v>
                </c:pt>
                <c:pt idx="4">
                  <c:v>0.3549201391555996</c:v>
                </c:pt>
                <c:pt idx="5">
                  <c:v>0.09235001553468095</c:v>
                </c:pt>
                <c:pt idx="6">
                  <c:v>0.02479125176048834</c:v>
                </c:pt>
                <c:pt idx="7">
                  <c:v>0.12812412643390092</c:v>
                </c:pt>
                <c:pt idx="8">
                  <c:v>0.2210268323176925</c:v>
                </c:pt>
                <c:pt idx="9">
                  <c:v>0.0074389858637371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8438156120634603</c:v>
                </c:pt>
                <c:pt idx="6">
                  <c:v>0.0027918831203136998</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4</c:v>
                </c:pt>
                <c:pt idx="6">
                  <c:v>0.03458659078408784</c:v>
                </c:pt>
                <c:pt idx="7">
                  <c:v>0.164633817437624</c:v>
                </c:pt>
                <c:pt idx="8">
                  <c:v>0.2164237616324487</c:v>
                </c:pt>
                <c:pt idx="9">
                  <c:v>0.21428098529602463</c:v>
                </c:pt>
                <c:pt idx="10">
                  <c:v>0.30356967226418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18170234166774064</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57</c:v>
                </c:pt>
                <c:pt idx="8">
                  <c:v>0.20795372780999538</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06502139779190402</c:v>
                </c:pt>
                <c:pt idx="6">
                  <c:v>0.0024618690465788855</c:v>
                </c:pt>
                <c:pt idx="7">
                  <c:v>0.007174550950070865</c:v>
                </c:pt>
                <c:pt idx="8">
                  <c:v>0.008591496943341055</c:v>
                </c:pt>
                <c:pt idx="9">
                  <c:v>0.0013335077625645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5</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4">
                  <c:v>0.0026462490913729043</c:v>
                </c:pt>
                <c:pt idx="5">
                  <c:v>0.06387838300374067</c:v>
                </c:pt>
                <c:pt idx="6">
                  <c:v>0.02866358095839938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80364971976064</c:v>
                </c:pt>
                <c:pt idx="7">
                  <c:v>0.0173139312922269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4</c:v>
                </c:pt>
                <c:pt idx="1">
                  <c:v>0.010631957095508139</c:v>
                </c:pt>
                <c:pt idx="2">
                  <c:v>0.017221234411258928</c:v>
                </c:pt>
                <c:pt idx="3">
                  <c:v>0.06680775222126653</c:v>
                </c:pt>
                <c:pt idx="4">
                  <c:v>0.04925062777639062</c:v>
                </c:pt>
                <c:pt idx="5">
                  <c:v>0.11852846252856482</c:v>
                </c:pt>
                <c:pt idx="6">
                  <c:v>0.13127207598354879</c:v>
                </c:pt>
                <c:pt idx="7">
                  <c:v>0.18044499841671938</c:v>
                </c:pt>
                <c:pt idx="8">
                  <c:v>0.23112965900723814</c:v>
                </c:pt>
                <c:pt idx="9">
                  <c:v>0.10923037007143091</c:v>
                </c:pt>
                <c:pt idx="10">
                  <c:v>0.0689005080357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1450304334989998</c:v>
                </c:pt>
                <c:pt idx="6">
                  <c:v>0.0030075690687200933</c:v>
                </c:pt>
                <c:pt idx="7">
                  <c:v>0.002942096980607313</c:v>
                </c:pt>
                <c:pt idx="8">
                  <c:v>0.016424903435520586</c:v>
                </c:pt>
                <c:pt idx="9">
                  <c:v>0.001890518761803361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971053551849625</c:v>
                </c:pt>
                <c:pt idx="6">
                  <c:v>0.0150352034384702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202286355530656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725619934971639</c:v>
                </c:pt>
                <c:pt idx="3">
                  <c:v>0.008949046454423844</c:v>
                </c:pt>
                <c:pt idx="4">
                  <c:v>0.006129297074432178</c:v>
                </c:pt>
                <c:pt idx="5">
                  <c:v>0.024515893736835173</c:v>
                </c:pt>
                <c:pt idx="6">
                  <c:v>0.015661540441294683</c:v>
                </c:pt>
                <c:pt idx="7">
                  <c:v>0.05133844013659845</c:v>
                </c:pt>
                <c:pt idx="8">
                  <c:v>0.05778867381508910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638345262747</c:v>
                </c:pt>
                <c:pt idx="2">
                  <c:v>0.002317484993668747</c:v>
                </c:pt>
                <c:pt idx="3">
                  <c:v>0.05488979052262856</c:v>
                </c:pt>
                <c:pt idx="4">
                  <c:v>0.02141736019358586</c:v>
                </c:pt>
                <c:pt idx="5">
                  <c:v>0.05495520429233301</c:v>
                </c:pt>
                <c:pt idx="6">
                  <c:v>0.14927649358998393</c:v>
                </c:pt>
                <c:pt idx="7">
                  <c:v>0.1322889885311403</c:v>
                </c:pt>
                <c:pt idx="8">
                  <c:v>0.31299544147474445</c:v>
                </c:pt>
                <c:pt idx="9">
                  <c:v>0.14351406891192672</c:v>
                </c:pt>
                <c:pt idx="10">
                  <c:v>0.113250309512144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49086843778176</c:v>
                </c:pt>
                <c:pt idx="7">
                  <c:v>0.0018803922850693005</c:v>
                </c:pt>
                <c:pt idx="8">
                  <c:v>0.00436932473140516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24960035381702</c:v>
                </c:pt>
                <c:pt idx="1">
                  <c:v>0.012443923938520774</c:v>
                </c:pt>
                <c:pt idx="2">
                  <c:v>0.01667040123619779</c:v>
                </c:pt>
                <c:pt idx="3">
                  <c:v>0.04533474503368629</c:v>
                </c:pt>
                <c:pt idx="4">
                  <c:v>0.060531542297092004</c:v>
                </c:pt>
                <c:pt idx="5">
                  <c:v>0.06742359989618227</c:v>
                </c:pt>
                <c:pt idx="6">
                  <c:v>0.10550384936561592</c:v>
                </c:pt>
                <c:pt idx="7">
                  <c:v>0.20935329812945264</c:v>
                </c:pt>
                <c:pt idx="8">
                  <c:v>0.18200643392867144</c:v>
                </c:pt>
                <c:pt idx="9">
                  <c:v>0.050943431632022196</c:v>
                </c:pt>
                <c:pt idx="10">
                  <c:v>0.2433638145071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4421940518158</c:v>
                </c:pt>
                <c:pt idx="1">
                  <c:v>0.018525575310990968</c:v>
                </c:pt>
                <c:pt idx="2">
                  <c:v>0.010830848402378098</c:v>
                </c:pt>
                <c:pt idx="3">
                  <c:v>0.013091761934090175</c:v>
                </c:pt>
                <c:pt idx="4">
                  <c:v>0.02272735784139302</c:v>
                </c:pt>
                <c:pt idx="5">
                  <c:v>0.1524932626514726</c:v>
                </c:pt>
                <c:pt idx="6">
                  <c:v>0.13267291400029826</c:v>
                </c:pt>
                <c:pt idx="7">
                  <c:v>0.14714524172169652</c:v>
                </c:pt>
                <c:pt idx="8">
                  <c:v>0.27503709972378243</c:v>
                </c:pt>
                <c:pt idx="9">
                  <c:v>0.1837626977933916</c:v>
                </c:pt>
                <c:pt idx="10">
                  <c:v>0.0213690212153247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63418572699626</c:v>
                </c:pt>
                <c:pt idx="1">
                  <c:v>0.021724384786094904</c:v>
                </c:pt>
                <c:pt idx="2">
                  <c:v>0.041414606767385245</c:v>
                </c:pt>
                <c:pt idx="3">
                  <c:v>0.02167587043218795</c:v>
                </c:pt>
                <c:pt idx="4">
                  <c:v>0.052576267878937134</c:v>
                </c:pt>
                <c:pt idx="5">
                  <c:v>0.06372480657963811</c:v>
                </c:pt>
                <c:pt idx="6">
                  <c:v>0.13090576767225237</c:v>
                </c:pt>
                <c:pt idx="7">
                  <c:v>0.17797195797908866</c:v>
                </c:pt>
                <c:pt idx="8">
                  <c:v>0.38160066799202275</c:v>
                </c:pt>
                <c:pt idx="9">
                  <c:v>0.07161101579666448</c:v>
                </c:pt>
                <c:pt idx="10">
                  <c:v>0.00283123554302877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9</c:v>
                </c:pt>
                <c:pt idx="1">
                  <c:v>0.03420814609101958</c:v>
                </c:pt>
                <c:pt idx="2">
                  <c:v>0.04638899137720838</c:v>
                </c:pt>
                <c:pt idx="3">
                  <c:v>0.042363038609228514</c:v>
                </c:pt>
                <c:pt idx="4">
                  <c:v>0.0735990012273524</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6267520693014</c:v>
                </c:pt>
                <c:pt idx="1">
                  <c:v>0.012898882045537288</c:v>
                </c:pt>
                <c:pt idx="2">
                  <c:v>0.017946845665942627</c:v>
                </c:pt>
                <c:pt idx="3">
                  <c:v>0.02943882378770414</c:v>
                </c:pt>
                <c:pt idx="4">
                  <c:v>0.09652094086889933</c:v>
                </c:pt>
                <c:pt idx="5">
                  <c:v>0.08441185954507394</c:v>
                </c:pt>
                <c:pt idx="6">
                  <c:v>0.18500629086262083</c:v>
                </c:pt>
                <c:pt idx="7">
                  <c:v>0.25423137173567506</c:v>
                </c:pt>
                <c:pt idx="8">
                  <c:v>0.10018099339047251</c:v>
                </c:pt>
                <c:pt idx="9">
                  <c:v>0.020525372145960695</c:v>
                </c:pt>
                <c:pt idx="10">
                  <c:v>0.00387594474518348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30743646429186058</c:v>
                </c:pt>
                <c:pt idx="3">
                  <c:v>0.03564450001734381</c:v>
                </c:pt>
                <c:pt idx="4">
                  <c:v>0.006332703713131765</c:v>
                </c:pt>
                <c:pt idx="5">
                  <c:v>0.02535841395269573</c:v>
                </c:pt>
                <c:pt idx="6">
                  <c:v>0.01714739853104838</c:v>
                </c:pt>
                <c:pt idx="7">
                  <c:v>0.054161420006419936</c:v>
                </c:pt>
                <c:pt idx="8">
                  <c:v>0.0532488880561622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4580604413649191</c:v>
                </c:pt>
                <c:pt idx="7">
                  <c:v>0.006310183683359255</c:v>
                </c:pt>
                <c:pt idx="8">
                  <c:v>0.00325466631360499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5</c:v>
                </c:pt>
                <c:pt idx="2">
                  <c:v>0.028142038356699532</c:v>
                </c:pt>
                <c:pt idx="3">
                  <c:v>0.060911867845577033</c:v>
                </c:pt>
                <c:pt idx="4">
                  <c:v>0.09316640131249333</c:v>
                </c:pt>
                <c:pt idx="5">
                  <c:v>0.09326734255645573</c:v>
                </c:pt>
                <c:pt idx="6">
                  <c:v>0.10621791691026569</c:v>
                </c:pt>
                <c:pt idx="7">
                  <c:v>0.1728631802144052</c:v>
                </c:pt>
                <c:pt idx="8">
                  <c:v>0.1708689325128169</c:v>
                </c:pt>
                <c:pt idx="9">
                  <c:v>0.13656175115690375</c:v>
                </c:pt>
                <c:pt idx="10">
                  <c:v>0.0582011505569994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4</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2</c:v>
                </c:pt>
                <c:pt idx="5">
                  <c:v>0.11494751174683013</c:v>
                </c:pt>
                <c:pt idx="6">
                  <c:v>0.17365993639694652</c:v>
                </c:pt>
                <c:pt idx="7">
                  <c:v>0.17952376942204423</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471834201411426</c:v>
                </c:pt>
                <c:pt idx="1">
                  <c:v>0.01733909455451033</c:v>
                </c:pt>
                <c:pt idx="2">
                  <c:v>0.030917818303169083</c:v>
                </c:pt>
                <c:pt idx="5">
                  <c:v>0.03726530710716553</c:v>
                </c:pt>
                <c:pt idx="6">
                  <c:v>0.028448033461384293</c:v>
                </c:pt>
                <c:pt idx="7">
                  <c:v>0.04432812257210345</c:v>
                </c:pt>
                <c:pt idx="8">
                  <c:v>0.05598903528938735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84078976272</c:v>
                </c:pt>
                <c:pt idx="2">
                  <c:v>0.0058871389526296255</c:v>
                </c:pt>
                <c:pt idx="3">
                  <c:v>0.07568667113579834</c:v>
                </c:pt>
                <c:pt idx="4">
                  <c:v>0.02542861193674968</c:v>
                </c:pt>
                <c:pt idx="5">
                  <c:v>0.09477662077859937</c:v>
                </c:pt>
                <c:pt idx="6">
                  <c:v>0.12887654807889964</c:v>
                </c:pt>
                <c:pt idx="7">
                  <c:v>0.13424372682216842</c:v>
                </c:pt>
                <c:pt idx="8">
                  <c:v>0.3291009309077084</c:v>
                </c:pt>
                <c:pt idx="9">
                  <c:v>0.10837235929418876</c:v>
                </c:pt>
                <c:pt idx="10">
                  <c:v>0.09282381232509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9383461157707815</c:v>
                </c:pt>
                <c:pt idx="2">
                  <c:v>0.001673190870588963</c:v>
                </c:pt>
                <c:pt idx="5">
                  <c:v>0.002027214747318125</c:v>
                </c:pt>
                <c:pt idx="6">
                  <c:v>0.0015571193082890124</c:v>
                </c:pt>
                <c:pt idx="7">
                  <c:v>0.0026113466142792534</c:v>
                </c:pt>
                <c:pt idx="8">
                  <c:v>0.003359679373068937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1476117564476908</c:v>
                </c:pt>
                <c:pt idx="8">
                  <c:v>0.0048853314067439264</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59253158490157</c:v>
                </c:pt>
                <c:pt idx="1">
                  <c:v>0.003936574690601502</c:v>
                </c:pt>
                <c:pt idx="2">
                  <c:v>0.020756412271314948</c:v>
                </c:pt>
                <c:pt idx="3">
                  <c:v>0.0929917164004372</c:v>
                </c:pt>
                <c:pt idx="4">
                  <c:v>0.024277269541755013</c:v>
                </c:pt>
                <c:pt idx="5">
                  <c:v>0.0804159994351811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91817496539752</c:v>
                </c:pt>
                <c:pt idx="1">
                  <c:v>0.007206310613597307</c:v>
                </c:pt>
                <c:pt idx="2">
                  <c:v>0.00744548378717661</c:v>
                </c:pt>
                <c:pt idx="3">
                  <c:v>0.01292014843570851</c:v>
                </c:pt>
                <c:pt idx="4">
                  <c:v>0.06656323975505912</c:v>
                </c:pt>
                <c:pt idx="5">
                  <c:v>0.16102300693596588</c:v>
                </c:pt>
                <c:pt idx="6">
                  <c:v>0.13290516588104634</c:v>
                </c:pt>
                <c:pt idx="7">
                  <c:v>0.17400543608853142</c:v>
                </c:pt>
                <c:pt idx="8">
                  <c:v>0.20826118401731084</c:v>
                </c:pt>
                <c:pt idx="9">
                  <c:v>0.12870129858787954</c:v>
                </c:pt>
                <c:pt idx="10">
                  <c:v>0.069050550932326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41257537623539</c:v>
                </c:pt>
                <c:pt idx="1">
                  <c:v>0.009117305413480924</c:v>
                </c:pt>
                <c:pt idx="2">
                  <c:v>0.016301635329842315</c:v>
                </c:pt>
                <c:pt idx="3">
                  <c:v>0.012411255521436126</c:v>
                </c:pt>
                <c:pt idx="4">
                  <c:v>0.05219875481715807</c:v>
                </c:pt>
                <c:pt idx="5">
                  <c:v>0.09179809552681169</c:v>
                </c:pt>
                <c:pt idx="6">
                  <c:v>0.2026334687049521</c:v>
                </c:pt>
                <c:pt idx="7">
                  <c:v>0.15958441887694685</c:v>
                </c:pt>
                <c:pt idx="8">
                  <c:v>0.3649632933266263</c:v>
                </c:pt>
                <c:pt idx="9">
                  <c:v>0.07945051494512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c:v>
                </c:pt>
                <c:pt idx="1">
                  <c:v>0.0864207716887703</c:v>
                </c:pt>
                <c:pt idx="2">
                  <c:v>0.01497950272481768</c:v>
                </c:pt>
                <c:pt idx="3">
                  <c:v>0.03843574548168264</c:v>
                </c:pt>
                <c:pt idx="4">
                  <c:v>0.09221361436269072</c:v>
                </c:pt>
                <c:pt idx="5">
                  <c:v>0.23543198442819935</c:v>
                </c:pt>
                <c:pt idx="6">
                  <c:v>0.18117729862300255</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34487526752247</c:v>
                </c:pt>
                <c:pt idx="1">
                  <c:v>0.008638873064758527</c:v>
                </c:pt>
                <c:pt idx="2">
                  <c:v>0.007023127671745327</c:v>
                </c:pt>
                <c:pt idx="3">
                  <c:v>0.027029708298252682</c:v>
                </c:pt>
                <c:pt idx="4">
                  <c:v>0.09963420252371497</c:v>
                </c:pt>
                <c:pt idx="5">
                  <c:v>0.08093983357307101</c:v>
                </c:pt>
                <c:pt idx="6">
                  <c:v>0.20959900182304106</c:v>
                </c:pt>
                <c:pt idx="7">
                  <c:v>0.23816393941505132</c:v>
                </c:pt>
                <c:pt idx="8">
                  <c:v>0.1377539702635304</c:v>
                </c:pt>
                <c:pt idx="9">
                  <c:v>0.06569700406898979</c:v>
                </c:pt>
                <c:pt idx="10">
                  <c:v>0.01417546403032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8206079859622176</c:v>
                </c:pt>
                <c:pt idx="4">
                  <c:v>0.013735802625934962</c:v>
                </c:pt>
                <c:pt idx="5">
                  <c:v>0.06158870680921726</c:v>
                </c:pt>
                <c:pt idx="6">
                  <c:v>0.02319507043178579</c:v>
                </c:pt>
                <c:pt idx="7">
                  <c:v>0.05900056563816069</c:v>
                </c:pt>
                <c:pt idx="8">
                  <c:v>0.024630784631086092</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638345262747</c:v>
                </c:pt>
                <c:pt idx="2">
                  <c:v>0.002317484993668747</c:v>
                </c:pt>
                <c:pt idx="3">
                  <c:v>0.05488979052262856</c:v>
                </c:pt>
                <c:pt idx="4">
                  <c:v>0.02141736019358586</c:v>
                </c:pt>
                <c:pt idx="5">
                  <c:v>0.05495520429233301</c:v>
                </c:pt>
                <c:pt idx="6">
                  <c:v>0.14927649358998393</c:v>
                </c:pt>
                <c:pt idx="7">
                  <c:v>0.1322889885311403</c:v>
                </c:pt>
                <c:pt idx="8">
                  <c:v>0.31299544147474445</c:v>
                </c:pt>
                <c:pt idx="9">
                  <c:v>0.14351406891192672</c:v>
                </c:pt>
                <c:pt idx="10">
                  <c:v>0.113250309512144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24960035381702</c:v>
                </c:pt>
                <c:pt idx="1">
                  <c:v>0.012443923938520774</c:v>
                </c:pt>
                <c:pt idx="2">
                  <c:v>0.01667040123619779</c:v>
                </c:pt>
                <c:pt idx="3">
                  <c:v>0.04533474503368629</c:v>
                </c:pt>
                <c:pt idx="4">
                  <c:v>0.060531542297092004</c:v>
                </c:pt>
                <c:pt idx="5">
                  <c:v>0.06742359989618227</c:v>
                </c:pt>
                <c:pt idx="6">
                  <c:v>0.10550384936561592</c:v>
                </c:pt>
                <c:pt idx="7">
                  <c:v>0.20935329812945264</c:v>
                </c:pt>
                <c:pt idx="8">
                  <c:v>0.18200643392867144</c:v>
                </c:pt>
                <c:pt idx="9">
                  <c:v>0.050943431632022196</c:v>
                </c:pt>
                <c:pt idx="10">
                  <c:v>0.2433638145071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4421940518158</c:v>
                </c:pt>
                <c:pt idx="1">
                  <c:v>0.018525575310990968</c:v>
                </c:pt>
                <c:pt idx="2">
                  <c:v>0.010830848402378098</c:v>
                </c:pt>
                <c:pt idx="3">
                  <c:v>0.013091761934090175</c:v>
                </c:pt>
                <c:pt idx="4">
                  <c:v>0.02272735784139302</c:v>
                </c:pt>
                <c:pt idx="5">
                  <c:v>0.1524932626514726</c:v>
                </c:pt>
                <c:pt idx="6">
                  <c:v>0.13267291400029826</c:v>
                </c:pt>
                <c:pt idx="7">
                  <c:v>0.14714524172169652</c:v>
                </c:pt>
                <c:pt idx="8">
                  <c:v>0.27503709972378243</c:v>
                </c:pt>
                <c:pt idx="9">
                  <c:v>0.1837626977933916</c:v>
                </c:pt>
                <c:pt idx="10">
                  <c:v>0.0213690212153247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5949374037325524</c:v>
                </c:pt>
                <c:pt idx="3">
                  <c:v>0.0006233114428646462</c:v>
                </c:pt>
                <c:pt idx="5">
                  <c:v>0.0017075603726103231</c:v>
                </c:pt>
                <c:pt idx="6">
                  <c:v>0.0013049926210790099</c:v>
                </c:pt>
                <c:pt idx="7">
                  <c:v>0.003737445320812045</c:v>
                </c:pt>
                <c:pt idx="8">
                  <c:v>0.004400693321424958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63418572699626</c:v>
                </c:pt>
                <c:pt idx="1">
                  <c:v>0.021724384786094904</c:v>
                </c:pt>
                <c:pt idx="2">
                  <c:v>0.041414606767385245</c:v>
                </c:pt>
                <c:pt idx="3">
                  <c:v>0.02167587043218795</c:v>
                </c:pt>
                <c:pt idx="4">
                  <c:v>0.052576267878937134</c:v>
                </c:pt>
                <c:pt idx="5">
                  <c:v>0.06372480657963811</c:v>
                </c:pt>
                <c:pt idx="6">
                  <c:v>0.13090576767225237</c:v>
                </c:pt>
                <c:pt idx="7">
                  <c:v>0.17797195797908866</c:v>
                </c:pt>
                <c:pt idx="8">
                  <c:v>0.38160066799202275</c:v>
                </c:pt>
                <c:pt idx="9">
                  <c:v>0.07161101579666448</c:v>
                </c:pt>
                <c:pt idx="10">
                  <c:v>0.00283123554302877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9</c:v>
                </c:pt>
                <c:pt idx="1">
                  <c:v>0.03420814609101958</c:v>
                </c:pt>
                <c:pt idx="2">
                  <c:v>0.04638899137720838</c:v>
                </c:pt>
                <c:pt idx="3">
                  <c:v>0.042363038609228514</c:v>
                </c:pt>
                <c:pt idx="4">
                  <c:v>0.0735990012273524</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6267520693014</c:v>
                </c:pt>
                <c:pt idx="1">
                  <c:v>0.012898882045537288</c:v>
                </c:pt>
                <c:pt idx="2">
                  <c:v>0.017946845665942627</c:v>
                </c:pt>
                <c:pt idx="3">
                  <c:v>0.02943882378770414</c:v>
                </c:pt>
                <c:pt idx="4">
                  <c:v>0.09652094086889933</c:v>
                </c:pt>
                <c:pt idx="5">
                  <c:v>0.08441185954507394</c:v>
                </c:pt>
                <c:pt idx="6">
                  <c:v>0.18500629086262083</c:v>
                </c:pt>
                <c:pt idx="7">
                  <c:v>0.25423137173567506</c:v>
                </c:pt>
                <c:pt idx="8">
                  <c:v>0.10018099339047251</c:v>
                </c:pt>
                <c:pt idx="9">
                  <c:v>0.020525372145960695</c:v>
                </c:pt>
                <c:pt idx="10">
                  <c:v>0.00387594474518348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13356059179014013</c:v>
                </c:pt>
                <c:pt idx="4">
                  <c:v>0.032745011116607166</c:v>
                </c:pt>
                <c:pt idx="5">
                  <c:v>0.045656346239016515</c:v>
                </c:pt>
                <c:pt idx="6">
                  <c:v>0.022933793156152984</c:v>
                </c:pt>
                <c:pt idx="7">
                  <c:v>0.05305367056078226</c:v>
                </c:pt>
                <c:pt idx="8">
                  <c:v>0.016505258068993306</c:v>
                </c:pt>
                <c:pt idx="9">
                  <c:v>0.01480468372668552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4</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2</c:v>
                </c:pt>
                <c:pt idx="5">
                  <c:v>0.11494751174683013</c:v>
                </c:pt>
                <c:pt idx="6">
                  <c:v>0.17365993639694652</c:v>
                </c:pt>
                <c:pt idx="7">
                  <c:v>0.17952376942204423</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9433076220715705</c:v>
                </c:pt>
                <c:pt idx="2">
                  <c:v>0.015808316239147732</c:v>
                </c:pt>
                <c:pt idx="3">
                  <c:v>0.07953967284854058</c:v>
                </c:pt>
                <c:pt idx="4">
                  <c:v>0.04615894771834592</c:v>
                </c:pt>
                <c:pt idx="5">
                  <c:v>0.035006207408320195</c:v>
                </c:pt>
                <c:pt idx="6">
                  <c:v>0.010506928851688921</c:v>
                </c:pt>
                <c:pt idx="7">
                  <c:v>0.09102463177222263</c:v>
                </c:pt>
                <c:pt idx="8">
                  <c:v>0.014093734792729056</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84078976272</c:v>
                </c:pt>
                <c:pt idx="2">
                  <c:v>0.0058871389526296255</c:v>
                </c:pt>
                <c:pt idx="3">
                  <c:v>0.07568667113579834</c:v>
                </c:pt>
                <c:pt idx="4">
                  <c:v>0.02542861193674968</c:v>
                </c:pt>
                <c:pt idx="5">
                  <c:v>0.09477662077859937</c:v>
                </c:pt>
                <c:pt idx="6">
                  <c:v>0.12887654807889964</c:v>
                </c:pt>
                <c:pt idx="7">
                  <c:v>0.13424372682216842</c:v>
                </c:pt>
                <c:pt idx="8">
                  <c:v>0.3291009309077084</c:v>
                </c:pt>
                <c:pt idx="9">
                  <c:v>0.10837235929418876</c:v>
                </c:pt>
                <c:pt idx="10">
                  <c:v>0.09282381232509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59253158490157</c:v>
                </c:pt>
                <c:pt idx="1">
                  <c:v>0.003936574690601502</c:v>
                </c:pt>
                <c:pt idx="2">
                  <c:v>0.020756412271314948</c:v>
                </c:pt>
                <c:pt idx="3">
                  <c:v>0.0929917164004372</c:v>
                </c:pt>
                <c:pt idx="4">
                  <c:v>0.024277269541755013</c:v>
                </c:pt>
                <c:pt idx="5">
                  <c:v>0.0804159994351811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91817496539752</c:v>
                </c:pt>
                <c:pt idx="1">
                  <c:v>0.007206310613597307</c:v>
                </c:pt>
                <c:pt idx="2">
                  <c:v>0.00744548378717661</c:v>
                </c:pt>
                <c:pt idx="3">
                  <c:v>0.01292014843570851</c:v>
                </c:pt>
                <c:pt idx="4">
                  <c:v>0.06656323975505912</c:v>
                </c:pt>
                <c:pt idx="5">
                  <c:v>0.16102300693596588</c:v>
                </c:pt>
                <c:pt idx="6">
                  <c:v>0.13290516588104634</c:v>
                </c:pt>
                <c:pt idx="7">
                  <c:v>0.17400543608853142</c:v>
                </c:pt>
                <c:pt idx="8">
                  <c:v>0.20826118401731084</c:v>
                </c:pt>
                <c:pt idx="9">
                  <c:v>0.12870129858787954</c:v>
                </c:pt>
                <c:pt idx="10">
                  <c:v>0.069050550932326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41257537623539</c:v>
                </c:pt>
                <c:pt idx="1">
                  <c:v>0.009117305413480924</c:v>
                </c:pt>
                <c:pt idx="2">
                  <c:v>0.016301635329842315</c:v>
                </c:pt>
                <c:pt idx="3">
                  <c:v>0.012411255521436126</c:v>
                </c:pt>
                <c:pt idx="4">
                  <c:v>0.05219875481715807</c:v>
                </c:pt>
                <c:pt idx="5">
                  <c:v>0.09179809552681169</c:v>
                </c:pt>
                <c:pt idx="6">
                  <c:v>0.2026334687049521</c:v>
                </c:pt>
                <c:pt idx="7">
                  <c:v>0.15958441887694685</c:v>
                </c:pt>
                <c:pt idx="8">
                  <c:v>0.3649632933266263</c:v>
                </c:pt>
                <c:pt idx="9">
                  <c:v>0.07945051494512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c:v>
                </c:pt>
                <c:pt idx="1">
                  <c:v>0.0864207716887703</c:v>
                </c:pt>
                <c:pt idx="2">
                  <c:v>0.01497950272481768</c:v>
                </c:pt>
                <c:pt idx="3">
                  <c:v>0.03843574548168264</c:v>
                </c:pt>
                <c:pt idx="4">
                  <c:v>0.09221361436269072</c:v>
                </c:pt>
                <c:pt idx="5">
                  <c:v>0.23543198442819935</c:v>
                </c:pt>
                <c:pt idx="6">
                  <c:v>0.18117729862300255</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34487526752247</c:v>
                </c:pt>
                <c:pt idx="1">
                  <c:v>0.008638873064758527</c:v>
                </c:pt>
                <c:pt idx="2">
                  <c:v>0.007023127671745327</c:v>
                </c:pt>
                <c:pt idx="3">
                  <c:v>0.027029708298252682</c:v>
                </c:pt>
                <c:pt idx="4">
                  <c:v>0.09963420252371497</c:v>
                </c:pt>
                <c:pt idx="5">
                  <c:v>0.08093983357307101</c:v>
                </c:pt>
                <c:pt idx="6">
                  <c:v>0.20959900182304106</c:v>
                </c:pt>
                <c:pt idx="7">
                  <c:v>0.23816393941505132</c:v>
                </c:pt>
                <c:pt idx="8">
                  <c:v>0.1377539702635304</c:v>
                </c:pt>
                <c:pt idx="9">
                  <c:v>0.06569700406898979</c:v>
                </c:pt>
                <c:pt idx="10">
                  <c:v>0.01417546403032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452095700271858</c:v>
                </c:pt>
                <c:pt idx="1">
                  <c:v>0.006903841536690244</c:v>
                </c:pt>
                <c:pt idx="2">
                  <c:v>0.0389931381088845</c:v>
                </c:pt>
                <c:pt idx="3">
                  <c:v>0.09288575427537832</c:v>
                </c:pt>
                <c:pt idx="4">
                  <c:v>0.12661389106941554</c:v>
                </c:pt>
                <c:pt idx="5">
                  <c:v>0.1413982861723846</c:v>
                </c:pt>
                <c:pt idx="6">
                  <c:v>0.08327672553420401</c:v>
                </c:pt>
                <c:pt idx="7">
                  <c:v>0.25943750265456544</c:v>
                </c:pt>
                <c:pt idx="8">
                  <c:v>0.16769832304927204</c:v>
                </c:pt>
                <c:pt idx="9">
                  <c:v>0.050813195599909045</c:v>
                </c:pt>
                <c:pt idx="10">
                  <c:v>0.00352724629902446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14769638345262747</c:v>
                </c:pt>
                <c:pt idx="2">
                  <c:v>0.002317484993668747</c:v>
                </c:pt>
                <c:pt idx="3">
                  <c:v>0.05488979052262856</c:v>
                </c:pt>
                <c:pt idx="4">
                  <c:v>0.02141736019358586</c:v>
                </c:pt>
                <c:pt idx="5">
                  <c:v>0.05495520429233301</c:v>
                </c:pt>
                <c:pt idx="6">
                  <c:v>0.14927649358998393</c:v>
                </c:pt>
                <c:pt idx="7">
                  <c:v>0.1322889885311403</c:v>
                </c:pt>
                <c:pt idx="8">
                  <c:v>0.31299544147474445</c:v>
                </c:pt>
                <c:pt idx="9">
                  <c:v>0.14351406891192672</c:v>
                </c:pt>
                <c:pt idx="10">
                  <c:v>0.1132503095121440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8625645312964784</c:v>
                </c:pt>
                <c:pt idx="6">
                  <c:v>0.011454911291099035</c:v>
                </c:pt>
                <c:pt idx="7">
                  <c:v>0.022883483224079806</c:v>
                </c:pt>
                <c:pt idx="8">
                  <c:v>0.05329603119673971</c:v>
                </c:pt>
                <c:pt idx="9">
                  <c:v>0.007252018986606235</c:v>
                </c:pt>
                <c:pt idx="10">
                  <c:v>0.0008013164346853945</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24960035381702</c:v>
                </c:pt>
                <c:pt idx="1">
                  <c:v>0.012443923938520774</c:v>
                </c:pt>
                <c:pt idx="2">
                  <c:v>0.01667040123619779</c:v>
                </c:pt>
                <c:pt idx="3">
                  <c:v>0.04533474503368629</c:v>
                </c:pt>
                <c:pt idx="4">
                  <c:v>0.060531542297092004</c:v>
                </c:pt>
                <c:pt idx="5">
                  <c:v>0.06742359989618227</c:v>
                </c:pt>
                <c:pt idx="6">
                  <c:v>0.10550384936561592</c:v>
                </c:pt>
                <c:pt idx="7">
                  <c:v>0.20935329812945264</c:v>
                </c:pt>
                <c:pt idx="8">
                  <c:v>0.18200643392867144</c:v>
                </c:pt>
                <c:pt idx="9">
                  <c:v>0.050943431632022196</c:v>
                </c:pt>
                <c:pt idx="10">
                  <c:v>0.24336381450717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62427588681003</c:v>
                </c:pt>
                <c:pt idx="8">
                  <c:v>0.01065329965729549</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34421940518158</c:v>
                </c:pt>
                <c:pt idx="1">
                  <c:v>0.018525575310990968</c:v>
                </c:pt>
                <c:pt idx="2">
                  <c:v>0.010830848402378098</c:v>
                </c:pt>
                <c:pt idx="3">
                  <c:v>0.013091761934090175</c:v>
                </c:pt>
                <c:pt idx="4">
                  <c:v>0.02272735784139302</c:v>
                </c:pt>
                <c:pt idx="5">
                  <c:v>0.1524932626514726</c:v>
                </c:pt>
                <c:pt idx="6">
                  <c:v>0.13267291400029826</c:v>
                </c:pt>
                <c:pt idx="7">
                  <c:v>0.14714524172169652</c:v>
                </c:pt>
                <c:pt idx="8">
                  <c:v>0.27503709972378243</c:v>
                </c:pt>
                <c:pt idx="9">
                  <c:v>0.1837626977933916</c:v>
                </c:pt>
                <c:pt idx="10">
                  <c:v>0.0213690212153247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3963418572699626</c:v>
                </c:pt>
                <c:pt idx="1">
                  <c:v>0.021724384786094904</c:v>
                </c:pt>
                <c:pt idx="2">
                  <c:v>0.041414606767385245</c:v>
                </c:pt>
                <c:pt idx="3">
                  <c:v>0.02167587043218795</c:v>
                </c:pt>
                <c:pt idx="4">
                  <c:v>0.052576267878937134</c:v>
                </c:pt>
                <c:pt idx="5">
                  <c:v>0.06372480657963811</c:v>
                </c:pt>
                <c:pt idx="6">
                  <c:v>0.13090576767225237</c:v>
                </c:pt>
                <c:pt idx="7">
                  <c:v>0.17797195797908866</c:v>
                </c:pt>
                <c:pt idx="8">
                  <c:v>0.38160066799202275</c:v>
                </c:pt>
                <c:pt idx="9">
                  <c:v>0.07161101579666448</c:v>
                </c:pt>
                <c:pt idx="10">
                  <c:v>0.00283123554302877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c:v>
                </c:pt>
                <c:pt idx="1">
                  <c:v>0.01639080822621522</c:v>
                </c:pt>
                <c:pt idx="2">
                  <c:v>0.028305055337770453</c:v>
                </c:pt>
                <c:pt idx="3">
                  <c:v>0.042299900341770766</c:v>
                </c:pt>
                <c:pt idx="4">
                  <c:v>0.08700220015339835</c:v>
                </c:pt>
                <c:pt idx="5">
                  <c:v>0.09608248837393922</c:v>
                </c:pt>
                <c:pt idx="6">
                  <c:v>0.1148106631886456</c:v>
                </c:pt>
                <c:pt idx="7">
                  <c:v>0.1644390142958639</c:v>
                </c:pt>
                <c:pt idx="8">
                  <c:v>0.21200061384242316</c:v>
                </c:pt>
                <c:pt idx="9">
                  <c:v>0.11609279258285989</c:v>
                </c:pt>
                <c:pt idx="10">
                  <c:v>0.0605008730541998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4122923696978769</c:v>
                </c:pt>
                <c:pt idx="1">
                  <c:v>0.03420814609101958</c:v>
                </c:pt>
                <c:pt idx="2">
                  <c:v>0.04638899137720838</c:v>
                </c:pt>
                <c:pt idx="3">
                  <c:v>0.042363038609228514</c:v>
                </c:pt>
                <c:pt idx="4">
                  <c:v>0.0735990012273524</c:v>
                </c:pt>
                <c:pt idx="5">
                  <c:v>0.21666215265832334</c:v>
                </c:pt>
                <c:pt idx="6">
                  <c:v>0.3585019733054398</c:v>
                </c:pt>
                <c:pt idx="7">
                  <c:v>0.11680761238296965</c:v>
                </c:pt>
                <c:pt idx="8">
                  <c:v>0.04725081386910258</c:v>
                </c:pt>
                <c:pt idx="9">
                  <c:v>0.0229888518105873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9496267520693014</c:v>
                </c:pt>
                <c:pt idx="1">
                  <c:v>0.012898882045537288</c:v>
                </c:pt>
                <c:pt idx="2">
                  <c:v>0.017946845665942627</c:v>
                </c:pt>
                <c:pt idx="3">
                  <c:v>0.02943882378770414</c:v>
                </c:pt>
                <c:pt idx="4">
                  <c:v>0.09652094086889933</c:v>
                </c:pt>
                <c:pt idx="5">
                  <c:v>0.08441185954507394</c:v>
                </c:pt>
                <c:pt idx="6">
                  <c:v>0.18500629086262083</c:v>
                </c:pt>
                <c:pt idx="7">
                  <c:v>0.25423137173567506</c:v>
                </c:pt>
                <c:pt idx="8">
                  <c:v>0.10018099339047251</c:v>
                </c:pt>
                <c:pt idx="9">
                  <c:v>0.020525372145960695</c:v>
                </c:pt>
                <c:pt idx="10">
                  <c:v>0.0038759447451834806</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8613377585847987</c:v>
                </c:pt>
                <c:pt idx="1">
                  <c:v>0.0156302030123537</c:v>
                </c:pt>
                <c:pt idx="2">
                  <c:v>0.03529498132174272</c:v>
                </c:pt>
                <c:pt idx="3">
                  <c:v>0.17153808610810198</c:v>
                </c:pt>
                <c:pt idx="4">
                  <c:v>0.13353047605469773</c:v>
                </c:pt>
                <c:pt idx="5">
                  <c:v>0.1291715379288184</c:v>
                </c:pt>
                <c:pt idx="6">
                  <c:v>0.07250731365668489</c:v>
                </c:pt>
                <c:pt idx="7">
                  <c:v>0.21110141717184974</c:v>
                </c:pt>
                <c:pt idx="8">
                  <c:v>0.1733531988133058</c:v>
                </c:pt>
                <c:pt idx="9">
                  <c:v>0.01994053861950895</c:v>
                </c:pt>
                <c:pt idx="10">
                  <c:v>0.009318869727088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921024996954196</c:v>
                </c:pt>
                <c:pt idx="1">
                  <c:v>0.022013794513369753</c:v>
                </c:pt>
                <c:pt idx="2">
                  <c:v>0.00601647294514509</c:v>
                </c:pt>
                <c:pt idx="3">
                  <c:v>0.05994837120816296</c:v>
                </c:pt>
                <c:pt idx="4">
                  <c:v>0.023502461461467138</c:v>
                </c:pt>
                <c:pt idx="5">
                  <c:v>0.07925451566522052</c:v>
                </c:pt>
                <c:pt idx="6">
                  <c:v>0.10057809753875296</c:v>
                </c:pt>
                <c:pt idx="7">
                  <c:v>0.2526766112173091</c:v>
                </c:pt>
                <c:pt idx="8">
                  <c:v>0.2504997063205352</c:v>
                </c:pt>
                <c:pt idx="9">
                  <c:v>0.1571946822549919</c:v>
                </c:pt>
                <c:pt idx="10">
                  <c:v>0.0472231843753500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5715629596531041</c:v>
                </c:pt>
                <c:pt idx="4">
                  <c:v>0.0009567145502349202</c:v>
                </c:pt>
                <c:pt idx="5">
                  <c:v>0.004289724709881665</c:v>
                </c:pt>
                <c:pt idx="6">
                  <c:v>0.0016244189686863194</c:v>
                </c:pt>
                <c:pt idx="7">
                  <c:v>0.004215962672475138</c:v>
                </c:pt>
                <c:pt idx="8">
                  <c:v>0.0017155626563656109</c:v>
                </c:pt>
                <c:pt idx="9">
                  <c:v>0.000646038453528623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3846185497573254</c:v>
                </c:pt>
                <c:pt idx="6">
                  <c:v>0.016601237523760515</c:v>
                </c:pt>
                <c:pt idx="7">
                  <c:v>0.042002967665951234</c:v>
                </c:pt>
                <c:pt idx="8">
                  <c:v>0.03574887950796415</c:v>
                </c:pt>
                <c:pt idx="9">
                  <c:v>0.008992305718647522</c:v>
                </c:pt>
                <c:pt idx="10">
                  <c:v>0.001076608769049459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2664777716174217</c:v>
                </c:pt>
                <c:pt idx="1">
                  <c:v>0.01455215005945285</c:v>
                </c:pt>
                <c:pt idx="2">
                  <c:v>0.03179315798758306</c:v>
                </c:pt>
                <c:pt idx="3">
                  <c:v>0.04819725041892283</c:v>
                </c:pt>
                <c:pt idx="4">
                  <c:v>0.036172401739128744</c:v>
                </c:pt>
                <c:pt idx="5">
                  <c:v>0.10756737889583759</c:v>
                </c:pt>
                <c:pt idx="6">
                  <c:v>0.1437797360274827</c:v>
                </c:pt>
                <c:pt idx="7">
                  <c:v>0.16541094068946494</c:v>
                </c:pt>
                <c:pt idx="8">
                  <c:v>0.17248314445239338</c:v>
                </c:pt>
                <c:pt idx="9">
                  <c:v>0.20438488641867086</c:v>
                </c:pt>
                <c:pt idx="10">
                  <c:v>0.0629941755948888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37298040148804625</c:v>
                </c:pt>
                <c:pt idx="8">
                  <c:v>0.012975505881202803</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9772656352017654</c:v>
                </c:pt>
                <c:pt idx="1">
                  <c:v>0.023212152827471175</c:v>
                </c:pt>
                <c:pt idx="2">
                  <c:v>0.009527632047204786</c:v>
                </c:pt>
                <c:pt idx="3">
                  <c:v>0.020834565919059692</c:v>
                </c:pt>
                <c:pt idx="4">
                  <c:v>0.05628095249632727</c:v>
                </c:pt>
                <c:pt idx="5">
                  <c:v>0.148585540071408</c:v>
                </c:pt>
                <c:pt idx="6">
                  <c:v>0.13431405689832426</c:v>
                </c:pt>
                <c:pt idx="7">
                  <c:v>0.17459164325638374</c:v>
                </c:pt>
                <c:pt idx="8">
                  <c:v>0.24859878263049723</c:v>
                </c:pt>
                <c:pt idx="9">
                  <c:v>0.1578426901381841</c:v>
                </c:pt>
                <c:pt idx="10">
                  <c:v>0.006439327363122095</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6578369953938744</c:v>
                </c:pt>
                <c:pt idx="1">
                  <c:v>0.039748049335277494</c:v>
                </c:pt>
                <c:pt idx="2">
                  <c:v>0.036152583544337216</c:v>
                </c:pt>
                <c:pt idx="3">
                  <c:v>0.02546984975086074</c:v>
                </c:pt>
                <c:pt idx="4">
                  <c:v>0.06481388038274538</c:v>
                </c:pt>
                <c:pt idx="5">
                  <c:v>0.0851977002451823</c:v>
                </c:pt>
                <c:pt idx="6">
                  <c:v>0.17447621527054125</c:v>
                </c:pt>
                <c:pt idx="7">
                  <c:v>0.20259246306990597</c:v>
                </c:pt>
                <c:pt idx="8">
                  <c:v>0.20923515941614845</c:v>
                </c:pt>
                <c:pt idx="9">
                  <c:v>0.10072276476360653</c:v>
                </c:pt>
                <c:pt idx="10">
                  <c:v>0.00501296426745589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53220514636903894</c:v>
                </c:pt>
                <c:pt idx="1">
                  <c:v>0.012441037528871992</c:v>
                </c:pt>
                <c:pt idx="2">
                  <c:v>0.0876245748015091</c:v>
                </c:pt>
                <c:pt idx="3">
                  <c:v>0.03028285437437974</c:v>
                </c:pt>
                <c:pt idx="4">
                  <c:v>0.14027776593737548</c:v>
                </c:pt>
                <c:pt idx="5">
                  <c:v>0.28950622024873895</c:v>
                </c:pt>
                <c:pt idx="6">
                  <c:v>0.21798642705429877</c:v>
                </c:pt>
                <c:pt idx="7">
                  <c:v>0.05658159874439701</c:v>
                </c:pt>
                <c:pt idx="8">
                  <c:v>0.09882715982471646</c:v>
                </c:pt>
                <c:pt idx="9">
                  <c:v>0.013251846848808615</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2513173424829716</c:v>
                </c:pt>
                <c:pt idx="1">
                  <c:v>0.02399531318055816</c:v>
                </c:pt>
                <c:pt idx="2">
                  <c:v>0.017913651730790934</c:v>
                </c:pt>
                <c:pt idx="3">
                  <c:v>0.04759709771413086</c:v>
                </c:pt>
                <c:pt idx="4">
                  <c:v>0.09651889967226962</c:v>
                </c:pt>
                <c:pt idx="5">
                  <c:v>0.11494751174683013</c:v>
                </c:pt>
                <c:pt idx="6">
                  <c:v>0.17365993639694652</c:v>
                </c:pt>
                <c:pt idx="7">
                  <c:v>0.17952376942204423</c:v>
                </c:pt>
                <c:pt idx="8">
                  <c:v>0.0828936000585582</c:v>
                </c:pt>
                <c:pt idx="9">
                  <c:v>0.010852694598812915</c:v>
                </c:pt>
                <c:pt idx="10">
                  <c:v>0.0007801829960868735</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943762752384092</c:v>
                </c:pt>
                <c:pt idx="1">
                  <c:v>0.01733909455451033</c:v>
                </c:pt>
                <c:pt idx="2">
                  <c:v>0.04808871651965523</c:v>
                </c:pt>
                <c:pt idx="3">
                  <c:v>0.20562364600569663</c:v>
                </c:pt>
                <c:pt idx="4">
                  <c:v>0.06674854741972457</c:v>
                </c:pt>
                <c:pt idx="5">
                  <c:v>0.12200576981432011</c:v>
                </c:pt>
                <c:pt idx="6">
                  <c:v>0.04618493716342849</c:v>
                </c:pt>
                <c:pt idx="7">
                  <c:v>0.2232454479683828</c:v>
                </c:pt>
                <c:pt idx="8">
                  <c:v>0.15135974545254935</c:v>
                </c:pt>
                <c:pt idx="9">
                  <c:v>0.08959978013454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41884078976272</c:v>
                </c:pt>
                <c:pt idx="2">
                  <c:v>0.0058871389526296255</c:v>
                </c:pt>
                <c:pt idx="3">
                  <c:v>0.07568667113579834</c:v>
                </c:pt>
                <c:pt idx="4">
                  <c:v>0.02542861193674968</c:v>
                </c:pt>
                <c:pt idx="5">
                  <c:v>0.09477662077859937</c:v>
                </c:pt>
                <c:pt idx="6">
                  <c:v>0.12887654807889964</c:v>
                </c:pt>
                <c:pt idx="7">
                  <c:v>0.13424372682216842</c:v>
                </c:pt>
                <c:pt idx="8">
                  <c:v>0.3291009309077084</c:v>
                </c:pt>
                <c:pt idx="9">
                  <c:v>0.10837235929418876</c:v>
                </c:pt>
                <c:pt idx="10">
                  <c:v>0.09282381232509891</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18966274896647383</c:v>
                </c:pt>
                <c:pt idx="6">
                  <c:v>0.017261910588526542</c:v>
                </c:pt>
                <c:pt idx="7">
                  <c:v>0.016312435879906873</c:v>
                </c:pt>
                <c:pt idx="8">
                  <c:v>0.08247058356692072</c:v>
                </c:pt>
                <c:pt idx="9">
                  <c:v>0.011400874901468067</c:v>
                </c:pt>
                <c:pt idx="10">
                  <c:v>0.0008380937585092173</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159253158490157</c:v>
                </c:pt>
                <c:pt idx="1">
                  <c:v>0.003936574690601502</c:v>
                </c:pt>
                <c:pt idx="2">
                  <c:v>0.020756412271314948</c:v>
                </c:pt>
                <c:pt idx="3">
                  <c:v>0.0929917164004372</c:v>
                </c:pt>
                <c:pt idx="4">
                  <c:v>0.024277269541755013</c:v>
                </c:pt>
                <c:pt idx="5">
                  <c:v>0.08041599943518112</c:v>
                </c:pt>
                <c:pt idx="6">
                  <c:v>0.11774145970678358</c:v>
                </c:pt>
                <c:pt idx="7">
                  <c:v>0.21111395390431634</c:v>
                </c:pt>
                <c:pt idx="8">
                  <c:v>0.14924836341310024</c:v>
                </c:pt>
                <c:pt idx="9">
                  <c:v>0.13462867849848958</c:v>
                </c:pt>
                <c:pt idx="10">
                  <c:v>0.160730318979530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6834180411023086</c:v>
                </c:pt>
                <c:pt idx="7">
                  <c:v>0.0011164244939379344</c:v>
                </c:pt>
                <c:pt idx="8">
                  <c:v>0.0129444647510232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3191817496539752</c:v>
                </c:pt>
                <c:pt idx="1">
                  <c:v>0.007206310613597307</c:v>
                </c:pt>
                <c:pt idx="2">
                  <c:v>0.00744548378717661</c:v>
                </c:pt>
                <c:pt idx="3">
                  <c:v>0.01292014843570851</c:v>
                </c:pt>
                <c:pt idx="4">
                  <c:v>0.06656323975505912</c:v>
                </c:pt>
                <c:pt idx="5">
                  <c:v>0.16102300693596588</c:v>
                </c:pt>
                <c:pt idx="6">
                  <c:v>0.13290516588104634</c:v>
                </c:pt>
                <c:pt idx="7">
                  <c:v>0.17400543608853142</c:v>
                </c:pt>
                <c:pt idx="8">
                  <c:v>0.20826118401731084</c:v>
                </c:pt>
                <c:pt idx="9">
                  <c:v>0.12870129858787954</c:v>
                </c:pt>
                <c:pt idx="10">
                  <c:v>0.06905055093232686</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1541257537623539</c:v>
                </c:pt>
                <c:pt idx="1">
                  <c:v>0.009117305413480924</c:v>
                </c:pt>
                <c:pt idx="2">
                  <c:v>0.016301635329842315</c:v>
                </c:pt>
                <c:pt idx="3">
                  <c:v>0.012411255521436126</c:v>
                </c:pt>
                <c:pt idx="4">
                  <c:v>0.05219875481715807</c:v>
                </c:pt>
                <c:pt idx="5">
                  <c:v>0.09179809552681169</c:v>
                </c:pt>
                <c:pt idx="6">
                  <c:v>0.2026334687049521</c:v>
                </c:pt>
                <c:pt idx="7">
                  <c:v>0.15958441887694685</c:v>
                </c:pt>
                <c:pt idx="8">
                  <c:v>0.3649632933266263</c:v>
                </c:pt>
                <c:pt idx="9">
                  <c:v>0.0794505149451221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184769341656717</c:v>
                </c:pt>
                <c:pt idx="1">
                  <c:v>0.0864207716887703</c:v>
                </c:pt>
                <c:pt idx="2">
                  <c:v>0.01497950272481768</c:v>
                </c:pt>
                <c:pt idx="3">
                  <c:v>0.03843574548168264</c:v>
                </c:pt>
                <c:pt idx="4">
                  <c:v>0.09221361436269072</c:v>
                </c:pt>
                <c:pt idx="5">
                  <c:v>0.23543198442819935</c:v>
                </c:pt>
                <c:pt idx="6">
                  <c:v>0.18117729862300255</c:v>
                </c:pt>
                <c:pt idx="7">
                  <c:v>0.20368518910803782</c:v>
                </c:pt>
                <c:pt idx="8">
                  <c:v>0.09721797951433478</c:v>
                </c:pt>
                <c:pt idx="9">
                  <c:v>0.0285902206518969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11134487526752247</c:v>
                </c:pt>
                <c:pt idx="1">
                  <c:v>0.008638873064758527</c:v>
                </c:pt>
                <c:pt idx="2">
                  <c:v>0.007023127671745327</c:v>
                </c:pt>
                <c:pt idx="3">
                  <c:v>0.027029708298252682</c:v>
                </c:pt>
                <c:pt idx="4">
                  <c:v>0.09963420252371497</c:v>
                </c:pt>
                <c:pt idx="5">
                  <c:v>0.08093983357307101</c:v>
                </c:pt>
                <c:pt idx="6">
                  <c:v>0.20959900182304106</c:v>
                </c:pt>
                <c:pt idx="7">
                  <c:v>0.23816393941505132</c:v>
                </c:pt>
                <c:pt idx="8">
                  <c:v>0.1377539702635304</c:v>
                </c:pt>
                <c:pt idx="9">
                  <c:v>0.06569700406898979</c:v>
                </c:pt>
                <c:pt idx="10">
                  <c:v>0.014175464030322502</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1</c:v>
                </c:pt>
                <c:pt idx="1">
                  <c:v>0.027620932864173206</c:v>
                </c:pt>
                <c:pt idx="2">
                  <c:v>0.03321975086399976</c:v>
                </c:pt>
                <c:pt idx="3">
                  <c:v>0.05067388390163951</c:v>
                </c:pt>
                <c:pt idx="4">
                  <c:v>0.08049847893797098</c:v>
                </c:pt>
                <c:pt idx="5">
                  <c:v>0.11300954238676617</c:v>
                </c:pt>
                <c:pt idx="6">
                  <c:v>0.13054828460312656</c:v>
                </c:pt>
                <c:pt idx="7">
                  <c:v>0.16999688993527615</c:v>
                </c:pt>
                <c:pt idx="8">
                  <c:v>0.17596357403605906</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401641215212906</c:v>
                </c:pt>
                <c:pt idx="4">
                  <c:v>0.0025501673259900166</c:v>
                </c:pt>
                <c:pt idx="5">
                  <c:v>0.0035556965300212423</c:v>
                </c:pt>
                <c:pt idx="6">
                  <c:v>0.0017860739078562468</c:v>
                </c:pt>
                <c:pt idx="7">
                  <c:v>0.004207288306650299</c:v>
                </c:pt>
                <c:pt idx="8">
                  <c:v>0.0012870907741153095</c:v>
                </c:pt>
                <c:pt idx="9">
                  <c:v>0.002435842119285573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5</c:v>
                </c:pt>
                <c:pt idx="2">
                  <c:v>0.028142038356699532</c:v>
                </c:pt>
                <c:pt idx="3">
                  <c:v>0.060911867845577033</c:v>
                </c:pt>
                <c:pt idx="4">
                  <c:v>0.09316640131249333</c:v>
                </c:pt>
                <c:pt idx="5">
                  <c:v>0.09326734255645573</c:v>
                </c:pt>
                <c:pt idx="6">
                  <c:v>0.10621791691026569</c:v>
                </c:pt>
                <c:pt idx="7">
                  <c:v>0.1728631802144052</c:v>
                </c:pt>
                <c:pt idx="8">
                  <c:v>0.1708689325128169</c:v>
                </c:pt>
                <c:pt idx="9">
                  <c:v>0.13656175115690375</c:v>
                </c:pt>
                <c:pt idx="10">
                  <c:v>0.0582011505569994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08555044263266814</c:v>
                </c:pt>
                <c:pt idx="3">
                  <c:v>0.004304477539612479</c:v>
                </c:pt>
                <c:pt idx="4">
                  <c:v>0.00249800064031081</c:v>
                </c:pt>
                <c:pt idx="5">
                  <c:v>0.0018944437177037627</c:v>
                </c:pt>
                <c:pt idx="6">
                  <c:v>0.0005686861560723379</c:v>
                </c:pt>
                <c:pt idx="7">
                  <c:v>0.004926046644477025</c:v>
                </c:pt>
                <c:pt idx="8">
                  <c:v>0.0007631689948834697</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207559060291354</c:v>
                </c:pt>
                <c:pt idx="1">
                  <c:v>0.01639080822621522</c:v>
                </c:pt>
                <c:pt idx="2">
                  <c:v>0.028305055337770453</c:v>
                </c:pt>
                <c:pt idx="3">
                  <c:v>0.042299900341770766</c:v>
                </c:pt>
                <c:pt idx="4">
                  <c:v>0.08700220015339835</c:v>
                </c:pt>
                <c:pt idx="5">
                  <c:v>0.09608248837393922</c:v>
                </c:pt>
                <c:pt idx="6">
                  <c:v>0.1148106631886456</c:v>
                </c:pt>
                <c:pt idx="7">
                  <c:v>0.1644390142958639</c:v>
                </c:pt>
                <c:pt idx="8">
                  <c:v>0.21200061384242316</c:v>
                </c:pt>
                <c:pt idx="9">
                  <c:v>0.11609279258285989</c:v>
                </c:pt>
                <c:pt idx="10">
                  <c:v>0.060500873054199884</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027130699712801</c:v>
                </c:pt>
                <c:pt idx="6">
                  <c:v>0.0010604486537568623</c:v>
                </c:pt>
                <c:pt idx="7">
                  <c:v>0.0023716758350342034</c:v>
                </c:pt>
                <c:pt idx="8">
                  <c:v>0.006071167257699736</c:v>
                </c:pt>
                <c:pt idx="9">
                  <c:v>0.0006234800731188243</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1</c:v>
                </c:pt>
                <c:pt idx="1">
                  <c:v>0.027620932864173206</c:v>
                </c:pt>
                <c:pt idx="2">
                  <c:v>0.03321975086399976</c:v>
                </c:pt>
                <c:pt idx="3">
                  <c:v>0.05067388390163951</c:v>
                </c:pt>
                <c:pt idx="4">
                  <c:v>0.08049847893797098</c:v>
                </c:pt>
                <c:pt idx="5">
                  <c:v>0.11300954238676617</c:v>
                </c:pt>
                <c:pt idx="6">
                  <c:v>0.13054828460312656</c:v>
                </c:pt>
                <c:pt idx="7">
                  <c:v>0.16999688993527615</c:v>
                </c:pt>
                <c:pt idx="8">
                  <c:v>0.17596357403605906</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4172512273142985</c:v>
                </c:pt>
                <c:pt idx="6">
                  <c:v>0.0024872310522562045</c:v>
                </c:pt>
                <c:pt idx="7">
                  <c:v>0.004667833658563696</c:v>
                </c:pt>
                <c:pt idx="8">
                  <c:v>0.005388863008772088</c:v>
                </c:pt>
                <c:pt idx="9">
                  <c:v>0.000821857887832700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6416614075491502</c:v>
                </c:pt>
                <c:pt idx="1">
                  <c:v>0.015633277822468455</c:v>
                </c:pt>
                <c:pt idx="2">
                  <c:v>0.028142038356699532</c:v>
                </c:pt>
                <c:pt idx="3">
                  <c:v>0.060911867845577033</c:v>
                </c:pt>
                <c:pt idx="4">
                  <c:v>0.09316640131249333</c:v>
                </c:pt>
                <c:pt idx="5">
                  <c:v>0.09326734255645573</c:v>
                </c:pt>
                <c:pt idx="6">
                  <c:v>0.10621791691026569</c:v>
                </c:pt>
                <c:pt idx="7">
                  <c:v>0.1728631802144052</c:v>
                </c:pt>
                <c:pt idx="8">
                  <c:v>0.1708689325128169</c:v>
                </c:pt>
                <c:pt idx="9">
                  <c:v>0.13656175115690375</c:v>
                </c:pt>
                <c:pt idx="10">
                  <c:v>0.058201150556999405</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Total Fromag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910096202506397</c:v>
                </c:pt>
                <c:pt idx="6">
                  <c:v>0.0016312763370760876</c:v>
                </c:pt>
                <c:pt idx="7">
                  <c:v>0.0017009624633459602</c:v>
                </c:pt>
                <c:pt idx="8">
                  <c:v>0.006684752227416385</c:v>
                </c:pt>
                <c:pt idx="9">
                  <c:v>0.000769420018421979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4</c:v>
                </c:pt>
                <c:pt idx="2">
                  <c:v>0.021276504885351145</c:v>
                </c:pt>
                <c:pt idx="3">
                  <c:v>0.03946846894890925</c:v>
                </c:pt>
                <c:pt idx="4">
                  <c:v>0.05155774407910629</c:v>
                </c:pt>
                <c:pt idx="5">
                  <c:v>0.10236317325345326</c:v>
                </c:pt>
                <c:pt idx="6">
                  <c:v>0.1307466067294137</c:v>
                </c:pt>
                <c:pt idx="7">
                  <c:v>0.17793801242919713</c:v>
                </c:pt>
                <c:pt idx="8">
                  <c:v>0.2564205262308883</c:v>
                </c:pt>
                <c:pt idx="9">
                  <c:v>0.10337145839958195</c:v>
                </c:pt>
                <c:pt idx="10">
                  <c:v>0.081802452183766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4546238917179327</c:v>
                </c:pt>
                <c:pt idx="3">
                  <c:v>0.0010920196899541514</c:v>
                </c:pt>
                <c:pt idx="4">
                  <c:v>0.0007479358974105629</c:v>
                </c:pt>
                <c:pt idx="5">
                  <c:v>0.002991585619070438</c:v>
                </c:pt>
                <c:pt idx="6">
                  <c:v>0.002286301099998601</c:v>
                </c:pt>
                <c:pt idx="7">
                  <c:v>0.00654787253976347</c:v>
                </c:pt>
                <c:pt idx="8">
                  <c:v>0.007709859672012065</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68</c:v>
                </c:pt>
                <c:pt idx="4">
                  <c:v>0.3549201391555996</c:v>
                </c:pt>
                <c:pt idx="5">
                  <c:v>0.09235001553468095</c:v>
                </c:pt>
                <c:pt idx="6">
                  <c:v>0.02479125176048834</c:v>
                </c:pt>
                <c:pt idx="7">
                  <c:v>0.12812412643390092</c:v>
                </c:pt>
                <c:pt idx="8">
                  <c:v>0.2210268323176925</c:v>
                </c:pt>
                <c:pt idx="9">
                  <c:v>0.0074389858637371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068180107995699</c:v>
                </c:pt>
                <c:pt idx="2">
                  <c:v>0.02922895821877096</c:v>
                </c:pt>
                <c:pt idx="3">
                  <c:v>0.0031519021903612604</c:v>
                </c:pt>
                <c:pt idx="4">
                  <c:v>0.015768353612406562</c:v>
                </c:pt>
                <c:pt idx="5">
                  <c:v>0.01409681264301934</c:v>
                </c:pt>
                <c:pt idx="6">
                  <c:v>0.03458659078408784</c:v>
                </c:pt>
                <c:pt idx="7">
                  <c:v>0.164633817437624</c:v>
                </c:pt>
                <c:pt idx="8">
                  <c:v>0.2164237616324487</c:v>
                </c:pt>
                <c:pt idx="9">
                  <c:v>0.21428098529602463</c:v>
                </c:pt>
                <c:pt idx="10">
                  <c:v>0.3035696722641849</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86739615292647</c:v>
                </c:pt>
                <c:pt idx="1">
                  <c:v>0.022440013185811045</c:v>
                </c:pt>
                <c:pt idx="2">
                  <c:v>0.025308299426034547</c:v>
                </c:pt>
                <c:pt idx="3">
                  <c:v>0.05376235000431038</c:v>
                </c:pt>
                <c:pt idx="4">
                  <c:v>0.06047976889902426</c:v>
                </c:pt>
                <c:pt idx="5">
                  <c:v>0.11906086687087766</c:v>
                </c:pt>
                <c:pt idx="6">
                  <c:v>0.13389055283916435</c:v>
                </c:pt>
                <c:pt idx="7">
                  <c:v>0.18936383046379757</c:v>
                </c:pt>
                <c:pt idx="8">
                  <c:v>0.20795372780999538</c:v>
                </c:pt>
                <c:pt idx="9">
                  <c:v>0.1370361635363881</c:v>
                </c:pt>
                <c:pt idx="10">
                  <c:v>0.02671768734930402</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88488110655021</c:v>
                </c:pt>
                <c:pt idx="3">
                  <c:v>0.004504171129757354</c:v>
                </c:pt>
                <c:pt idx="4">
                  <c:v>0.0008002239117989131</c:v>
                </c:pt>
                <c:pt idx="5">
                  <c:v>0.003204383171782237</c:v>
                </c:pt>
                <c:pt idx="6">
                  <c:v>0.002846086397167409</c:v>
                </c:pt>
                <c:pt idx="7">
                  <c:v>0.007779802096760204</c:v>
                </c:pt>
                <c:pt idx="8">
                  <c:v>0.00721137534056697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5229844271682886</c:v>
                </c:pt>
                <c:pt idx="1">
                  <c:v>0.001259059205196047</c:v>
                </c:pt>
                <c:pt idx="2">
                  <c:v>0.032731555461713205</c:v>
                </c:pt>
                <c:pt idx="3">
                  <c:v>0.1415219798443428</c:v>
                </c:pt>
                <c:pt idx="4">
                  <c:v>0.3243050139348906</c:v>
                </c:pt>
                <c:pt idx="5">
                  <c:v>0.07999615168178825</c:v>
                </c:pt>
                <c:pt idx="6">
                  <c:v>0.09644564249232465</c:v>
                </c:pt>
                <c:pt idx="7">
                  <c:v>0.11128880451125545</c:v>
                </c:pt>
                <c:pt idx="8">
                  <c:v>0.17753774739433337</c:v>
                </c:pt>
                <c:pt idx="9">
                  <c:v>0.009291375765223823</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6407063617840164</c:v>
                </c:pt>
                <c:pt idx="1">
                  <c:v>0.0028111852108087237</c:v>
                </c:pt>
                <c:pt idx="2">
                  <c:v>0.011733795016715527</c:v>
                </c:pt>
                <c:pt idx="3">
                  <c:v>0.0075748521230272065</c:v>
                </c:pt>
                <c:pt idx="4">
                  <c:v>0.019009215663064603</c:v>
                </c:pt>
                <c:pt idx="5">
                  <c:v>0.011686734111054545</c:v>
                </c:pt>
                <c:pt idx="6">
                  <c:v>0.04428241600001839</c:v>
                </c:pt>
                <c:pt idx="7">
                  <c:v>0.13481352044305056</c:v>
                </c:pt>
                <c:pt idx="8">
                  <c:v>0.11237839726299749</c:v>
                </c:pt>
                <c:pt idx="9">
                  <c:v>0.48396240184152367</c:v>
                </c:pt>
                <c:pt idx="10">
                  <c:v>0.16534041870989913</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582354452281674</c:v>
                </c:pt>
                <c:pt idx="1">
                  <c:v>0.010631957095508139</c:v>
                </c:pt>
                <c:pt idx="2">
                  <c:v>0.017221234411258928</c:v>
                </c:pt>
                <c:pt idx="3">
                  <c:v>0.06680775222126653</c:v>
                </c:pt>
                <c:pt idx="4">
                  <c:v>0.04925062777639062</c:v>
                </c:pt>
                <c:pt idx="5">
                  <c:v>0.11852846252856482</c:v>
                </c:pt>
                <c:pt idx="6">
                  <c:v>0.13127207598354879</c:v>
                </c:pt>
                <c:pt idx="7">
                  <c:v>0.18044499841671938</c:v>
                </c:pt>
                <c:pt idx="8">
                  <c:v>0.23112965900723814</c:v>
                </c:pt>
                <c:pt idx="9">
                  <c:v>0.10923037007143091</c:v>
                </c:pt>
                <c:pt idx="10">
                  <c:v>0.0689005080357921</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 Fromage | Carrefou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7069714754673051</c:v>
                </c:pt>
                <c:pt idx="1">
                  <c:v>0.027620932864173206</c:v>
                </c:pt>
                <c:pt idx="2">
                  <c:v>0.03321975086399976</c:v>
                </c:pt>
                <c:pt idx="3">
                  <c:v>0.05067388390163951</c:v>
                </c:pt>
                <c:pt idx="4">
                  <c:v>0.08049847893797098</c:v>
                </c:pt>
                <c:pt idx="5">
                  <c:v>0.11300954238676617</c:v>
                </c:pt>
                <c:pt idx="6">
                  <c:v>0.13054828460312656</c:v>
                </c:pt>
                <c:pt idx="7">
                  <c:v>0.16999688993527615</c:v>
                </c:pt>
                <c:pt idx="8">
                  <c:v>0.17596357403605906</c:v>
                </c:pt>
                <c:pt idx="9">
                  <c:v>0.1247508482589552</c:v>
                </c:pt>
                <c:pt idx="10">
                  <c:v>0.02302066666530287</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2305581989624116</c:v>
                </c:pt>
                <c:pt idx="2">
                  <c:v>0.004111146912207988</c:v>
                </c:pt>
                <c:pt idx="5">
                  <c:v>0.00498100832087721</c:v>
                </c:pt>
                <c:pt idx="6">
                  <c:v>0.0038259509711276803</c:v>
                </c:pt>
                <c:pt idx="7">
                  <c:v>0.006416261144324794</c:v>
                </c:pt>
                <c:pt idx="8">
                  <c:v>0.008254967035374369</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0100304976349817</c:v>
                </c:pt>
                <c:pt idx="3">
                  <c:v>0.26868346656608316</c:v>
                </c:pt>
                <c:pt idx="4">
                  <c:v>0.24448648886529212</c:v>
                </c:pt>
                <c:pt idx="5">
                  <c:v>0.09711309197384473</c:v>
                </c:pt>
                <c:pt idx="6">
                  <c:v>0.02982395736803779</c:v>
                </c:pt>
                <c:pt idx="7">
                  <c:v>0.16451004332234603</c:v>
                </c:pt>
                <c:pt idx="8">
                  <c:v>0.1923090863418820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B2D-4498-9BF6-166E2B4FD5B9}"/>
              </c:ext>
            </c:extLst>
          </c:dPt>
          <c:dPt>
            <c:idx val="14"/>
            <c:invertIfNegative val="0"/>
            <c:bubble3D val="0"/>
            <c:extLst>
              <c:ext xmlns:c16="http://schemas.microsoft.com/office/drawing/2014/chart" uri="{C3380CC4-5D6E-409C-BE32-E72D297353CC}">
                <c16:uniqueId val="{00000001-CB2D-4498-9BF6-166E2B4FD5B9}"/>
              </c:ext>
            </c:extLst>
          </c:dPt>
          <c:dPt>
            <c:idx val="15"/>
            <c:invertIfNegative val="0"/>
            <c:bubble3D val="0"/>
            <c:extLst>
              <c:ext xmlns:c16="http://schemas.microsoft.com/office/drawing/2014/chart" uri="{C3380CC4-5D6E-409C-BE32-E72D297353CC}">
                <c16:uniqueId val="{00000002-CB2D-4498-9BF6-166E2B4FD5B9}"/>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CB2D-4498-9BF6-166E2B4FD5B9}"/>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D6-4D0B-A514-6CB9BCDBDDD4}"/>
              </c:ext>
            </c:extLst>
          </c:dPt>
          <c:dPt>
            <c:idx val="14"/>
            <c:invertIfNegative val="0"/>
            <c:bubble3D val="0"/>
            <c:extLst>
              <c:ext xmlns:c16="http://schemas.microsoft.com/office/drawing/2014/chart" uri="{C3380CC4-5D6E-409C-BE32-E72D297353CC}">
                <c16:uniqueId val="{00000001-4ED6-4D0B-A514-6CB9BCDBDDD4}"/>
              </c:ext>
            </c:extLst>
          </c:dPt>
          <c:dPt>
            <c:idx val="15"/>
            <c:invertIfNegative val="0"/>
            <c:bubble3D val="0"/>
            <c:extLst>
              <c:ext xmlns:c16="http://schemas.microsoft.com/office/drawing/2014/chart" uri="{C3380CC4-5D6E-409C-BE32-E72D297353CC}">
                <c16:uniqueId val="{00000002-4ED6-4D0B-A514-6CB9BCDBDDD4}"/>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8030213217652804</c:v>
                </c:pt>
                <c:pt idx="1">
                  <c:v>0.001136218009126783</c:v>
                </c:pt>
                <c:pt idx="2">
                  <c:v>0.03902508511291027</c:v>
                </c:pt>
                <c:pt idx="3">
                  <c:v>0.010743820448448566</c:v>
                </c:pt>
                <c:pt idx="4">
                  <c:v>0.008513844935433352</c:v>
                </c:pt>
                <c:pt idx="5">
                  <c:v>0.010761112831630315</c:v>
                </c:pt>
                <c:pt idx="6">
                  <c:v>0.07763991842218361</c:v>
                </c:pt>
                <c:pt idx="7">
                  <c:v>0.17609201899160237</c:v>
                </c:pt>
                <c:pt idx="8">
                  <c:v>0.21875489647669405</c:v>
                </c:pt>
                <c:pt idx="9">
                  <c:v>0.2442479212971707</c:v>
                </c:pt>
                <c:pt idx="10">
                  <c:v>0.20728214215303467</c:v>
                </c:pt>
              </c:numCache>
            </c:numRef>
          </c:val>
          <c:extLst>
            <c:ext xmlns:c16="http://schemas.microsoft.com/office/drawing/2014/chart" uri="{C3380CC4-5D6E-409C-BE32-E72D297353CC}">
              <c16:uniqueId val="{00000003-4ED6-4D0B-A514-6CB9BCDBDDD4}"/>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 | Intermarch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5B4-4203-83D6-E4B97C6D1E36}"/>
              </c:ext>
            </c:extLst>
          </c:dPt>
          <c:dPt>
            <c:idx val="14"/>
            <c:invertIfNegative val="0"/>
            <c:bubble3D val="0"/>
            <c:extLst>
              <c:ext xmlns:c16="http://schemas.microsoft.com/office/drawing/2014/chart" uri="{C3380CC4-5D6E-409C-BE32-E72D297353CC}">
                <c16:uniqueId val="{00000001-05B4-4203-83D6-E4B97C6D1E36}"/>
              </c:ext>
            </c:extLst>
          </c:dPt>
          <c:dPt>
            <c:idx val="15"/>
            <c:invertIfNegative val="0"/>
            <c:bubble3D val="0"/>
            <c:extLst>
              <c:ext xmlns:c16="http://schemas.microsoft.com/office/drawing/2014/chart" uri="{C3380CC4-5D6E-409C-BE32-E72D297353CC}">
                <c16:uniqueId val="{00000002-05B4-4203-83D6-E4B97C6D1E36}"/>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3-05B4-4203-83D6-E4B97C6D1E36}"/>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1EB-47B1-8705-3EEE0195D4B3}"/>
              </c:ext>
            </c:extLst>
          </c:dPt>
          <c:dPt>
            <c:idx val="14"/>
            <c:invertIfNegative val="0"/>
            <c:bubble3D val="0"/>
            <c:extLst>
              <c:ext xmlns:c16="http://schemas.microsoft.com/office/drawing/2014/chart" uri="{C3380CC4-5D6E-409C-BE32-E72D297353CC}">
                <c16:uniqueId val="{00000001-41EB-47B1-8705-3EEE0195D4B3}"/>
              </c:ext>
            </c:extLst>
          </c:dPt>
          <c:dPt>
            <c:idx val="15"/>
            <c:invertIfNegative val="0"/>
            <c:bubble3D val="0"/>
            <c:extLst>
              <c:ext xmlns:c16="http://schemas.microsoft.com/office/drawing/2014/chart" uri="{C3380CC4-5D6E-409C-BE32-E72D297353CC}">
                <c16:uniqueId val="{00000002-41EB-47B1-8705-3EEE0195D4B3}"/>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cat>
          <c:val>
            <c:numRef>
              <c:f>Sheet1!$B$2:$B$11</c:f>
              <c:numCache>
                <c:formatCode>General</c:formatCode>
                <c:ptCount val="10"/>
                <c:pt idx="0">
                  <c:v>5.2402595000000003E-2</c:v>
                </c:pt>
                <c:pt idx="1">
                  <c:v>1.4997273E-2</c:v>
                </c:pt>
                <c:pt idx="2">
                  <c:v>1.406991E-3</c:v>
                </c:pt>
                <c:pt idx="3">
                  <c:v>2.6317993000000001E-2</c:v>
                </c:pt>
                <c:pt idx="4" formatCode="0.00%">
                  <c:v>0.102607754</c:v>
                </c:pt>
                <c:pt idx="5" formatCode="0.00%">
                  <c:v>0.32788217800000002</c:v>
                </c:pt>
                <c:pt idx="6" formatCode="0.00%">
                  <c:v>0.37774250999999998</c:v>
                </c:pt>
                <c:pt idx="7" formatCode="0.00%">
                  <c:v>9.5943925999999999E-2</c:v>
                </c:pt>
                <c:pt idx="8">
                  <c:v>6.9817999999999996E-4</c:v>
                </c:pt>
                <c:pt idx="9">
                  <c:v>6.9817999999999996E-4</c:v>
                </c:pt>
              </c:numCache>
            </c:numRef>
          </c:val>
          <c:extLst>
            <c:ext xmlns:c16="http://schemas.microsoft.com/office/drawing/2014/chart" uri="{C3380CC4-5D6E-409C-BE32-E72D297353CC}">
              <c16:uniqueId val="{00000003-41EB-47B1-8705-3EEE0195D4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Value Sha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D16D-4C88-8014-AA07CB520DDA}"/>
              </c:ext>
            </c:extLst>
          </c:dPt>
          <c:dPt>
            <c:idx val="14"/>
            <c:invertIfNegative val="0"/>
            <c:bubble3D val="0"/>
            <c:extLst>
              <c:ext xmlns:c16="http://schemas.microsoft.com/office/drawing/2014/chart" uri="{C3380CC4-5D6E-409C-BE32-E72D297353CC}">
                <c16:uniqueId val="{00000001-D16D-4C88-8014-AA07CB520DDA}"/>
              </c:ext>
            </c:extLst>
          </c:dPt>
          <c:dPt>
            <c:idx val="15"/>
            <c:invertIfNegative val="0"/>
            <c:bubble3D val="0"/>
            <c:extLst>
              <c:ext xmlns:c16="http://schemas.microsoft.com/office/drawing/2014/chart" uri="{C3380CC4-5D6E-409C-BE32-E72D297353CC}">
                <c16:uniqueId val="{00000002-D16D-4C88-8014-AA07CB520DDA}"/>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numRef>
              <c:f>Sheet1!$B$2:$B$26</c:f>
              <c:numCache>
                <c:formatCode>General</c:formatCode>
                <c:ptCount val="25"/>
                <c:pt idx="4" formatCode="0.00%">
                  <c:v>1.9E-2</c:v>
                </c:pt>
                <c:pt idx="5" formatCode="0.00%">
                  <c:v>9.1999999999999998E-2</c:v>
                </c:pt>
                <c:pt idx="6" formatCode="0.00%">
                  <c:v>0.14799999999999999</c:v>
                </c:pt>
                <c:pt idx="7" formatCode="0.00%">
                  <c:v>8.7999999999999995E-2</c:v>
                </c:pt>
              </c:numCache>
            </c:numRef>
          </c:cat>
          <c:val>
            <c:numRef>
              <c:f>Sheet1!$B$2:$B$11</c:f>
              <c:numCache>
                <c:formatCode>General</c:formatCode>
                <c:ptCount val="10"/>
                <c:pt idx="4" formatCode="0.00%">
                  <c:v>1.9E-2</c:v>
                </c:pt>
                <c:pt idx="5" formatCode="0.00%">
                  <c:v>9.1999999999999998E-2</c:v>
                </c:pt>
                <c:pt idx="6" formatCode="0.00%">
                  <c:v>0.14799999999999999</c:v>
                </c:pt>
                <c:pt idx="7" formatCode="0.00%">
                  <c:v>8.7999999999999995E-2</c:v>
                </c:pt>
              </c:numCache>
            </c:numRef>
          </c:val>
          <c:extLst>
            <c:ext xmlns:c16="http://schemas.microsoft.com/office/drawing/2014/chart" uri="{C3380CC4-5D6E-409C-BE32-E72D297353CC}">
              <c16:uniqueId val="{00000003-D16D-4C88-8014-AA07CB520DDA}"/>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D70-4650-9402-F1154CF5D318}"/>
              </c:ext>
            </c:extLst>
          </c:dPt>
          <c:dPt>
            <c:idx val="14"/>
            <c:invertIfNegative val="0"/>
            <c:bubble3D val="0"/>
            <c:extLst>
              <c:ext xmlns:c16="http://schemas.microsoft.com/office/drawing/2014/chart" uri="{C3380CC4-5D6E-409C-BE32-E72D297353CC}">
                <c16:uniqueId val="{00000001-4D70-4650-9402-F1154CF5D318}"/>
              </c:ext>
            </c:extLst>
          </c:dPt>
          <c:dPt>
            <c:idx val="15"/>
            <c:invertIfNegative val="0"/>
            <c:bubble3D val="0"/>
            <c:extLst>
              <c:ext xmlns:c16="http://schemas.microsoft.com/office/drawing/2014/chart" uri="{C3380CC4-5D6E-409C-BE32-E72D297353CC}">
                <c16:uniqueId val="{00000002-4D70-4650-9402-F1154CF5D318}"/>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879716802825232</c:v>
                </c:pt>
                <c:pt idx="1">
                  <c:v>0.016257884832080134</c:v>
                </c:pt>
                <c:pt idx="2">
                  <c:v>0.021276504885351145</c:v>
                </c:pt>
                <c:pt idx="3">
                  <c:v>0.03946846894890925</c:v>
                </c:pt>
                <c:pt idx="4">
                  <c:v>0.05155774407910629</c:v>
                </c:pt>
                <c:pt idx="5">
                  <c:v>0.10236317325345326</c:v>
                </c:pt>
                <c:pt idx="6">
                  <c:v>0.1307466067294137</c:v>
                </c:pt>
                <c:pt idx="7">
                  <c:v>0.17793801242919713</c:v>
                </c:pt>
                <c:pt idx="8">
                  <c:v>0.2564205262308883</c:v>
                </c:pt>
                <c:pt idx="9">
                  <c:v>0.10337145839958195</c:v>
                </c:pt>
                <c:pt idx="10">
                  <c:v>0.08180245218376649</c:v>
                </c:pt>
              </c:numCache>
            </c:numRef>
          </c:val>
          <c:extLst>
            <c:ext xmlns:c16="http://schemas.microsoft.com/office/drawing/2014/chart" uri="{C3380CC4-5D6E-409C-BE32-E72D297353CC}">
              <c16:uniqueId val="{00000003-4D70-4650-9402-F1154CF5D31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6B0-47A0-9C17-EE97FC7B715C}"/>
              </c:ext>
            </c:extLst>
          </c:dPt>
          <c:dPt>
            <c:idx val="14"/>
            <c:invertIfNegative val="0"/>
            <c:bubble3D val="0"/>
            <c:extLst>
              <c:ext xmlns:c16="http://schemas.microsoft.com/office/drawing/2014/chart" uri="{C3380CC4-5D6E-409C-BE32-E72D297353CC}">
                <c16:uniqueId val="{00000001-A6B0-47A0-9C17-EE97FC7B715C}"/>
              </c:ext>
            </c:extLst>
          </c:dPt>
          <c:dPt>
            <c:idx val="15"/>
            <c:invertIfNegative val="0"/>
            <c:bubble3D val="0"/>
            <c:extLst>
              <c:ext xmlns:c16="http://schemas.microsoft.com/office/drawing/2014/chart" uri="{C3380CC4-5D6E-409C-BE32-E72D297353CC}">
                <c16:uniqueId val="{00000002-A6B0-47A0-9C17-EE97FC7B715C}"/>
              </c:ext>
            </c:extLst>
          </c:dPt>
          <c:dLbls>
            <c:numFmt formatCode="0.0%" sourceLinked="0"/>
            <c:spPr>
              <a:noFill/>
              <a:ln>
                <a:noFill/>
              </a:ln>
              <a:effectLst/>
            </c:spPr>
            <c:txPr>
              <a:bodyPr wrap="none" lIns="38100" tIns="19050" rIns="38100" bIns="19050" anchor="ctr" anchorCtr="0">
                <a:spAutoFit/>
              </a:bodyPr>
              <a:lstStyle/>
              <a:p>
                <a:pPr algn="ctr">
                  <a:defRPr lang="en-US" sz="800" b="0" i="0" u="none" strike="noStrike" kern="1200" baseline="0">
                    <a:solidFill>
                      <a:schemeClr val="tx2"/>
                    </a:solidFill>
                    <a:latin typeface="Nexa Book" panose="00000400000000000000" pitchFamily="2" charset="0"/>
                    <a:ea typeface="+mn-ea"/>
                    <a:cs typeface="+mn-cs"/>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10013581703572184</c:v>
                </c:pt>
                <c:pt idx="4">
                  <c:v>0.0016761301889800756</c:v>
                </c:pt>
                <c:pt idx="5">
                  <c:v>0.007515446573777856</c:v>
                </c:pt>
                <c:pt idx="6">
                  <c:v>0.002830410340406952</c:v>
                </c:pt>
                <c:pt idx="7">
                  <c:v>0.007199625091168654</c:v>
                </c:pt>
                <c:pt idx="8">
                  <c:v>0.0030056053383061584</c:v>
                </c:pt>
              </c:numCache>
            </c:numRef>
          </c:val>
          <c:extLst>
            <c:ext xmlns:c16="http://schemas.microsoft.com/office/drawing/2014/chart" uri="{C3380CC4-5D6E-409C-BE32-E72D297353CC}">
              <c16:uniqueId val="{00000003-A6B0-47A0-9C17-EE97FC7B715C}"/>
            </c:ext>
          </c:extLst>
        </c:ser>
        <c:dLbls>
          <c:dLblPos val="outEnd"/>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5"/>
          <c:min val="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 | NATION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9DA-47FB-99D6-FF4E1507B1A0}"/>
              </c:ext>
            </c:extLst>
          </c:dPt>
          <c:dPt>
            <c:idx val="14"/>
            <c:invertIfNegative val="0"/>
            <c:bubble3D val="0"/>
            <c:extLst>
              <c:ext xmlns:c16="http://schemas.microsoft.com/office/drawing/2014/chart" uri="{C3380CC4-5D6E-409C-BE32-E72D297353CC}">
                <c16:uniqueId val="{00000001-E9DA-47FB-99D6-FF4E1507B1A0}"/>
              </c:ext>
            </c:extLst>
          </c:dPt>
          <c:dPt>
            <c:idx val="15"/>
            <c:invertIfNegative val="0"/>
            <c:bubble3D val="0"/>
            <c:extLst>
              <c:ext xmlns:c16="http://schemas.microsoft.com/office/drawing/2014/chart" uri="{C3380CC4-5D6E-409C-BE32-E72D297353CC}">
                <c16:uniqueId val="{00000002-E9DA-47FB-99D6-FF4E1507B1A0}"/>
              </c:ext>
            </c:extLst>
          </c:dPt>
          <c:dLbls>
            <c:numFmt formatCode="0.0%" sourceLinked="0"/>
            <c:spPr>
              <a:noFill/>
              <a:ln>
                <a:noFill/>
              </a:ln>
              <a:effectLst/>
            </c:spPr>
            <c:txPr>
              <a:bodyPr vertOverflow="overflow" horzOverflow="overflow" wrap="none" lIns="38100" tIns="19050" rIns="38100" bIns="19050" anchor="ctr">
                <a:spAutoFit/>
              </a:bodyPr>
              <a:lstStyle/>
              <a:p>
                <a:pPr>
                  <a:defRPr sz="8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0166596838760698</c:v>
                </c:pt>
                <c:pt idx="1">
                  <c:v>0.0006556122106747299</c:v>
                </c:pt>
                <c:pt idx="2">
                  <c:v>0.0018510121405579355</c:v>
                </c:pt>
                <c:pt idx="3">
                  <c:v>0.14860482656659568</c:v>
                </c:pt>
                <c:pt idx="4">
                  <c:v>0.3549201391555996</c:v>
                </c:pt>
                <c:pt idx="5">
                  <c:v>0.09235001553468095</c:v>
                </c:pt>
                <c:pt idx="6">
                  <c:v>0.02479125176048834</c:v>
                </c:pt>
                <c:pt idx="7">
                  <c:v>0.12812412643390092</c:v>
                </c:pt>
                <c:pt idx="8">
                  <c:v>0.2210268323176925</c:v>
                </c:pt>
                <c:pt idx="9">
                  <c:v>0.007438985863737164</c:v>
                </c:pt>
              </c:numCache>
            </c:numRef>
          </c:val>
          <c:extLst>
            <c:ext xmlns:c16="http://schemas.microsoft.com/office/drawing/2014/chart" uri="{C3380CC4-5D6E-409C-BE32-E72D297353CC}">
              <c16:uniqueId val="{00000003-E9DA-47FB-99D6-FF4E1507B1A0}"/>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5"/>
          <c:min val="0"/>
        </c:scaling>
        <c:delete val="0"/>
        <c:axPos val="t"/>
        <c:numFmt formatCode="0%" sourceLinked="0"/>
        <c:majorTickMark val="out"/>
        <c:minorTickMark val="none"/>
        <c:tickLblPos val="none"/>
        <c:spPr>
          <a:ln>
            <a:noFill/>
          </a:ln>
        </c:spPr>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08/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9776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8/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8/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8/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8/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8/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8/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8/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8/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8/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8/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8/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3.xml"/><Relationship Id="rId7" Type="http://schemas.openxmlformats.org/officeDocument/2006/relationships/chart" Target="../charts/chart74.xml"/><Relationship Id="rId8" Type="http://schemas.openxmlformats.org/officeDocument/2006/relationships/chart" Target="../charts/chart75.xml"/><Relationship Id="rId9" Type="http://schemas.openxmlformats.org/officeDocument/2006/relationships/chart" Target="../charts/chart76.xml"/><Relationship Id="rId10" Type="http://schemas.openxmlformats.org/officeDocument/2006/relationships/chart" Target="../charts/chart77.xml"/><Relationship Id="rId11" Type="http://schemas.openxmlformats.org/officeDocument/2006/relationships/chart" Target="../charts/chart78.xml"/><Relationship Id="rId12" Type="http://schemas.openxmlformats.org/officeDocument/2006/relationships/chart" Target="../charts/chart79.xml"/><Relationship Id="rId13" Type="http://schemas.openxmlformats.org/officeDocument/2006/relationships/chart" Target="../charts/chart8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1.xml"/><Relationship Id="rId7" Type="http://schemas.openxmlformats.org/officeDocument/2006/relationships/chart" Target="../charts/chart82.xml"/><Relationship Id="rId8" Type="http://schemas.openxmlformats.org/officeDocument/2006/relationships/chart" Target="../charts/chart83.xml"/><Relationship Id="rId9" Type="http://schemas.openxmlformats.org/officeDocument/2006/relationships/chart" Target="../charts/chart84.xml"/><Relationship Id="rId10" Type="http://schemas.openxmlformats.org/officeDocument/2006/relationships/chart" Target="../charts/chart85.xml"/><Relationship Id="rId11" Type="http://schemas.openxmlformats.org/officeDocument/2006/relationships/chart" Target="../charts/chart86.xml"/><Relationship Id="rId12" Type="http://schemas.openxmlformats.org/officeDocument/2006/relationships/chart" Target="../charts/chart87.xml"/><Relationship Id="rId13" Type="http://schemas.openxmlformats.org/officeDocument/2006/relationships/chart" Target="../charts/chart88.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7.xml"/><Relationship Id="rId7" Type="http://schemas.openxmlformats.org/officeDocument/2006/relationships/chart" Target="../charts/chart98.xml"/><Relationship Id="rId8" Type="http://schemas.openxmlformats.org/officeDocument/2006/relationships/chart" Target="../charts/chart99.xml"/><Relationship Id="rId9" Type="http://schemas.openxmlformats.org/officeDocument/2006/relationships/chart" Target="../charts/chart100.xml"/><Relationship Id="rId10" Type="http://schemas.openxmlformats.org/officeDocument/2006/relationships/chart" Target="../charts/chart101.xml"/><Relationship Id="rId11" Type="http://schemas.openxmlformats.org/officeDocument/2006/relationships/chart" Target="../charts/chart102.xml"/><Relationship Id="rId12" Type="http://schemas.openxmlformats.org/officeDocument/2006/relationships/chart" Target="../charts/chart103.xml"/><Relationship Id="rId13" Type="http://schemas.openxmlformats.org/officeDocument/2006/relationships/chart" Target="../charts/chart104.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5.xml"/><Relationship Id="rId7" Type="http://schemas.openxmlformats.org/officeDocument/2006/relationships/chart" Target="../charts/chart106.xml"/><Relationship Id="rId8" Type="http://schemas.openxmlformats.org/officeDocument/2006/relationships/chart" Target="../charts/chart107.xml"/><Relationship Id="rId9" Type="http://schemas.openxmlformats.org/officeDocument/2006/relationships/chart" Target="../charts/chart108.xml"/><Relationship Id="rId10" Type="http://schemas.openxmlformats.org/officeDocument/2006/relationships/chart" Target="../charts/chart109.xml"/><Relationship Id="rId11" Type="http://schemas.openxmlformats.org/officeDocument/2006/relationships/chart" Target="../charts/chart110.xml"/><Relationship Id="rId12" Type="http://schemas.openxmlformats.org/officeDocument/2006/relationships/chart" Target="../charts/chart111.xml"/><Relationship Id="rId13" Type="http://schemas.openxmlformats.org/officeDocument/2006/relationships/chart" Target="../charts/chart112.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3.xml"/><Relationship Id="rId7" Type="http://schemas.openxmlformats.org/officeDocument/2006/relationships/chart" Target="../charts/chart114.xml"/><Relationship Id="rId8" Type="http://schemas.openxmlformats.org/officeDocument/2006/relationships/chart" Target="../charts/chart115.xml"/><Relationship Id="rId9" Type="http://schemas.openxmlformats.org/officeDocument/2006/relationships/chart" Target="../charts/chart116.xml"/><Relationship Id="rId10" Type="http://schemas.openxmlformats.org/officeDocument/2006/relationships/chart" Target="../charts/chart117.xml"/><Relationship Id="rId11" Type="http://schemas.openxmlformats.org/officeDocument/2006/relationships/chart" Target="../charts/chart118.xml"/><Relationship Id="rId12" Type="http://schemas.openxmlformats.org/officeDocument/2006/relationships/chart" Target="../charts/chart119.xml"/><Relationship Id="rId13" Type="http://schemas.openxmlformats.org/officeDocument/2006/relationships/chart" Target="../charts/chart120.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1.xml"/><Relationship Id="rId7" Type="http://schemas.openxmlformats.org/officeDocument/2006/relationships/chart" Target="../charts/chart122.xml"/><Relationship Id="rId8" Type="http://schemas.openxmlformats.org/officeDocument/2006/relationships/chart" Target="../charts/chart123.xml"/><Relationship Id="rId9" Type="http://schemas.openxmlformats.org/officeDocument/2006/relationships/chart" Target="../charts/chart124.xml"/><Relationship Id="rId10" Type="http://schemas.openxmlformats.org/officeDocument/2006/relationships/chart" Target="../charts/chart125.xml"/><Relationship Id="rId11" Type="http://schemas.openxmlformats.org/officeDocument/2006/relationships/chart" Target="../charts/chart126.xml"/><Relationship Id="rId12" Type="http://schemas.openxmlformats.org/officeDocument/2006/relationships/chart" Target="../charts/chart127.xml"/><Relationship Id="rId13" Type="http://schemas.openxmlformats.org/officeDocument/2006/relationships/chart" Target="../charts/chart128.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9.xml"/><Relationship Id="rId7" Type="http://schemas.openxmlformats.org/officeDocument/2006/relationships/chart" Target="../charts/chart130.xml"/><Relationship Id="rId8" Type="http://schemas.openxmlformats.org/officeDocument/2006/relationships/chart" Target="../charts/chart131.xml"/><Relationship Id="rId9" Type="http://schemas.openxmlformats.org/officeDocument/2006/relationships/chart" Target="../charts/chart132.xml"/><Relationship Id="rId10" Type="http://schemas.openxmlformats.org/officeDocument/2006/relationships/chart" Target="../charts/chart133.xml"/><Relationship Id="rId11" Type="http://schemas.openxmlformats.org/officeDocument/2006/relationships/chart" Target="../charts/chart134.xml"/><Relationship Id="rId12" Type="http://schemas.openxmlformats.org/officeDocument/2006/relationships/chart" Target="../charts/chart135.xml"/><Relationship Id="rId13" Type="http://schemas.openxmlformats.org/officeDocument/2006/relationships/chart" Target="../charts/chart136.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7.xml"/><Relationship Id="rId7" Type="http://schemas.openxmlformats.org/officeDocument/2006/relationships/chart" Target="../charts/chart138.xml"/><Relationship Id="rId8" Type="http://schemas.openxmlformats.org/officeDocument/2006/relationships/chart" Target="../charts/chart139.xml"/><Relationship Id="rId9" Type="http://schemas.openxmlformats.org/officeDocument/2006/relationships/chart" Target="../charts/chart140.xml"/><Relationship Id="rId10" Type="http://schemas.openxmlformats.org/officeDocument/2006/relationships/chart" Target="../charts/chart141.xml"/><Relationship Id="rId11" Type="http://schemas.openxmlformats.org/officeDocument/2006/relationships/chart" Target="../charts/chart142.xml"/><Relationship Id="rId12" Type="http://schemas.openxmlformats.org/officeDocument/2006/relationships/chart" Target="../charts/chart143.xml"/><Relationship Id="rId13" Type="http://schemas.openxmlformats.org/officeDocument/2006/relationships/chart" Target="../charts/chart144.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5.xml"/><Relationship Id="rId7" Type="http://schemas.openxmlformats.org/officeDocument/2006/relationships/chart" Target="../charts/chart146.xml"/><Relationship Id="rId8" Type="http://schemas.openxmlformats.org/officeDocument/2006/relationships/chart" Target="../charts/chart147.xml"/><Relationship Id="rId9" Type="http://schemas.openxmlformats.org/officeDocument/2006/relationships/chart" Target="../charts/chart148.xml"/><Relationship Id="rId10" Type="http://schemas.openxmlformats.org/officeDocument/2006/relationships/chart" Target="../charts/chart149.xml"/><Relationship Id="rId11" Type="http://schemas.openxmlformats.org/officeDocument/2006/relationships/chart" Target="../charts/chart150.xml"/><Relationship Id="rId12" Type="http://schemas.openxmlformats.org/officeDocument/2006/relationships/chart" Target="../charts/chart151.xml"/><Relationship Id="rId13" Type="http://schemas.openxmlformats.org/officeDocument/2006/relationships/chart" Target="../charts/chart152.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9.xml"/><Relationship Id="rId7" Type="http://schemas.openxmlformats.org/officeDocument/2006/relationships/chart" Target="../charts/chart10.xml"/><Relationship Id="rId8" Type="http://schemas.openxmlformats.org/officeDocument/2006/relationships/chart" Target="../charts/chart11.xml"/><Relationship Id="rId9" Type="http://schemas.openxmlformats.org/officeDocument/2006/relationships/chart" Target="../charts/chart12.xml"/><Relationship Id="rId10" Type="http://schemas.openxmlformats.org/officeDocument/2006/relationships/chart" Target="../charts/chart13.xml"/><Relationship Id="rId11" Type="http://schemas.openxmlformats.org/officeDocument/2006/relationships/chart" Target="../charts/chart14.xml"/><Relationship Id="rId12" Type="http://schemas.openxmlformats.org/officeDocument/2006/relationships/chart" Target="../charts/chart15.xml"/><Relationship Id="rId13" Type="http://schemas.openxmlformats.org/officeDocument/2006/relationships/chart" Target="../charts/chart16.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3.xml"/><Relationship Id="rId7" Type="http://schemas.openxmlformats.org/officeDocument/2006/relationships/chart" Target="../charts/chart154.xml"/><Relationship Id="rId8" Type="http://schemas.openxmlformats.org/officeDocument/2006/relationships/chart" Target="../charts/chart155.xml"/><Relationship Id="rId9" Type="http://schemas.openxmlformats.org/officeDocument/2006/relationships/chart" Target="../charts/chart156.xml"/><Relationship Id="rId10" Type="http://schemas.openxmlformats.org/officeDocument/2006/relationships/chart" Target="../charts/chart157.xml"/><Relationship Id="rId11" Type="http://schemas.openxmlformats.org/officeDocument/2006/relationships/chart" Target="../charts/chart158.xml"/><Relationship Id="rId12" Type="http://schemas.openxmlformats.org/officeDocument/2006/relationships/chart" Target="../charts/chart159.xml"/><Relationship Id="rId13" Type="http://schemas.openxmlformats.org/officeDocument/2006/relationships/chart" Target="../charts/chart16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1.xml"/><Relationship Id="rId7" Type="http://schemas.openxmlformats.org/officeDocument/2006/relationships/chart" Target="../charts/chart162.xml"/><Relationship Id="rId8" Type="http://schemas.openxmlformats.org/officeDocument/2006/relationships/chart" Target="../charts/chart163.xml"/><Relationship Id="rId9" Type="http://schemas.openxmlformats.org/officeDocument/2006/relationships/chart" Target="../charts/chart164.xml"/><Relationship Id="rId10" Type="http://schemas.openxmlformats.org/officeDocument/2006/relationships/chart" Target="../charts/chart165.xml"/><Relationship Id="rId11" Type="http://schemas.openxmlformats.org/officeDocument/2006/relationships/chart" Target="../charts/chart166.xml"/><Relationship Id="rId12" Type="http://schemas.openxmlformats.org/officeDocument/2006/relationships/chart" Target="../charts/chart167.xml"/><Relationship Id="rId13" Type="http://schemas.openxmlformats.org/officeDocument/2006/relationships/chart" Target="../charts/chart168.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9.xml"/><Relationship Id="rId7" Type="http://schemas.openxmlformats.org/officeDocument/2006/relationships/chart" Target="../charts/chart170.xml"/><Relationship Id="rId8" Type="http://schemas.openxmlformats.org/officeDocument/2006/relationships/chart" Target="../charts/chart171.xml"/><Relationship Id="rId9" Type="http://schemas.openxmlformats.org/officeDocument/2006/relationships/chart" Target="../charts/chart172.xml"/><Relationship Id="rId10" Type="http://schemas.openxmlformats.org/officeDocument/2006/relationships/chart" Target="../charts/chart173.xml"/><Relationship Id="rId11" Type="http://schemas.openxmlformats.org/officeDocument/2006/relationships/chart" Target="../charts/chart174.xml"/><Relationship Id="rId12" Type="http://schemas.openxmlformats.org/officeDocument/2006/relationships/chart" Target="../charts/chart175.xml"/><Relationship Id="rId13" Type="http://schemas.openxmlformats.org/officeDocument/2006/relationships/chart" Target="../charts/chart176.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5.xml"/><Relationship Id="rId7" Type="http://schemas.openxmlformats.org/officeDocument/2006/relationships/chart" Target="../charts/chart186.xml"/><Relationship Id="rId8" Type="http://schemas.openxmlformats.org/officeDocument/2006/relationships/chart" Target="../charts/chart187.xml"/><Relationship Id="rId9" Type="http://schemas.openxmlformats.org/officeDocument/2006/relationships/chart" Target="../charts/chart188.xml"/><Relationship Id="rId10" Type="http://schemas.openxmlformats.org/officeDocument/2006/relationships/chart" Target="../charts/chart189.xml"/><Relationship Id="rId11" Type="http://schemas.openxmlformats.org/officeDocument/2006/relationships/chart" Target="../charts/chart190.xml"/><Relationship Id="rId12" Type="http://schemas.openxmlformats.org/officeDocument/2006/relationships/chart" Target="../charts/chart191.xml"/><Relationship Id="rId13" Type="http://schemas.openxmlformats.org/officeDocument/2006/relationships/chart" Target="../charts/chart192.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3.xml"/><Relationship Id="rId7" Type="http://schemas.openxmlformats.org/officeDocument/2006/relationships/chart" Target="../charts/chart194.xml"/><Relationship Id="rId8" Type="http://schemas.openxmlformats.org/officeDocument/2006/relationships/chart" Target="../charts/chart195.xml"/><Relationship Id="rId9" Type="http://schemas.openxmlformats.org/officeDocument/2006/relationships/chart" Target="../charts/chart196.xml"/><Relationship Id="rId10" Type="http://schemas.openxmlformats.org/officeDocument/2006/relationships/chart" Target="../charts/chart197.xml"/><Relationship Id="rId11" Type="http://schemas.openxmlformats.org/officeDocument/2006/relationships/chart" Target="../charts/chart198.xml"/><Relationship Id="rId12" Type="http://schemas.openxmlformats.org/officeDocument/2006/relationships/chart" Target="../charts/chart199.xml"/><Relationship Id="rId13" Type="http://schemas.openxmlformats.org/officeDocument/2006/relationships/chart" Target="../charts/chart200.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1.xml"/><Relationship Id="rId7" Type="http://schemas.openxmlformats.org/officeDocument/2006/relationships/chart" Target="../charts/chart202.xml"/><Relationship Id="rId8" Type="http://schemas.openxmlformats.org/officeDocument/2006/relationships/chart" Target="../charts/chart203.xml"/><Relationship Id="rId9" Type="http://schemas.openxmlformats.org/officeDocument/2006/relationships/chart" Target="../charts/chart204.xml"/><Relationship Id="rId10" Type="http://schemas.openxmlformats.org/officeDocument/2006/relationships/chart" Target="../charts/chart205.xml"/><Relationship Id="rId11" Type="http://schemas.openxmlformats.org/officeDocument/2006/relationships/chart" Target="../charts/chart206.xml"/><Relationship Id="rId12" Type="http://schemas.openxmlformats.org/officeDocument/2006/relationships/chart" Target="../charts/chart207.xml"/><Relationship Id="rId13" Type="http://schemas.openxmlformats.org/officeDocument/2006/relationships/chart" Target="../charts/chart208.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09.xml"/><Relationship Id="rId7" Type="http://schemas.openxmlformats.org/officeDocument/2006/relationships/chart" Target="../charts/chart210.xml"/><Relationship Id="rId8" Type="http://schemas.openxmlformats.org/officeDocument/2006/relationships/chart" Target="../charts/chart211.xml"/><Relationship Id="rId9" Type="http://schemas.openxmlformats.org/officeDocument/2006/relationships/chart" Target="../charts/chart212.xml"/><Relationship Id="rId10" Type="http://schemas.openxmlformats.org/officeDocument/2006/relationships/chart" Target="../charts/chart213.xml"/><Relationship Id="rId11" Type="http://schemas.openxmlformats.org/officeDocument/2006/relationships/chart" Target="../charts/chart214.xml"/><Relationship Id="rId12" Type="http://schemas.openxmlformats.org/officeDocument/2006/relationships/chart" Target="../charts/chart215.xml"/><Relationship Id="rId13" Type="http://schemas.openxmlformats.org/officeDocument/2006/relationships/chart" Target="../charts/chart216.xml"/></Relationships>
</file>

<file path=ppt/slides/_rels/slide2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7.xml"/><Relationship Id="rId3" Type="http://schemas.openxmlformats.org/officeDocument/2006/relationships/notesSlide" Target="../notesSlides/notesSlide2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7.xml"/><Relationship Id="rId7" Type="http://schemas.openxmlformats.org/officeDocument/2006/relationships/chart" Target="../charts/chart218.xml"/><Relationship Id="rId8" Type="http://schemas.openxmlformats.org/officeDocument/2006/relationships/chart" Target="../charts/chart219.xml"/><Relationship Id="rId9" Type="http://schemas.openxmlformats.org/officeDocument/2006/relationships/chart" Target="../charts/chart220.xml"/><Relationship Id="rId10" Type="http://schemas.openxmlformats.org/officeDocument/2006/relationships/chart" Target="../charts/chart221.xml"/><Relationship Id="rId11" Type="http://schemas.openxmlformats.org/officeDocument/2006/relationships/chart" Target="../charts/chart222.xml"/><Relationship Id="rId12" Type="http://schemas.openxmlformats.org/officeDocument/2006/relationships/chart" Target="../charts/chart223.xml"/><Relationship Id="rId13" Type="http://schemas.openxmlformats.org/officeDocument/2006/relationships/chart" Target="../charts/chart224.xml"/></Relationships>
</file>

<file path=ppt/slides/_rels/slide2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7.xml"/><Relationship Id="rId3" Type="http://schemas.openxmlformats.org/officeDocument/2006/relationships/notesSlide" Target="../notesSlides/notesSlide2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5.xml"/><Relationship Id="rId7" Type="http://schemas.openxmlformats.org/officeDocument/2006/relationships/chart" Target="../charts/chart226.xml"/><Relationship Id="rId8" Type="http://schemas.openxmlformats.org/officeDocument/2006/relationships/chart" Target="../charts/chart227.xml"/><Relationship Id="rId9" Type="http://schemas.openxmlformats.org/officeDocument/2006/relationships/chart" Target="../charts/chart228.xml"/><Relationship Id="rId10" Type="http://schemas.openxmlformats.org/officeDocument/2006/relationships/chart" Target="../charts/chart229.xml"/><Relationship Id="rId11" Type="http://schemas.openxmlformats.org/officeDocument/2006/relationships/chart" Target="../charts/chart230.xml"/><Relationship Id="rId12" Type="http://schemas.openxmlformats.org/officeDocument/2006/relationships/chart" Target="../charts/chart231.xml"/><Relationship Id="rId13" Type="http://schemas.openxmlformats.org/officeDocument/2006/relationships/chart" Target="../charts/chart232.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xml"/><Relationship Id="rId7" Type="http://schemas.openxmlformats.org/officeDocument/2006/relationships/chart" Target="../charts/chart18.xml"/><Relationship Id="rId8" Type="http://schemas.openxmlformats.org/officeDocument/2006/relationships/chart" Target="../charts/chart19.xml"/><Relationship Id="rId9" Type="http://schemas.openxmlformats.org/officeDocument/2006/relationships/chart" Target="../charts/chart20.xml"/><Relationship Id="rId10" Type="http://schemas.openxmlformats.org/officeDocument/2006/relationships/chart" Target="../charts/chart21.xml"/><Relationship Id="rId11" Type="http://schemas.openxmlformats.org/officeDocument/2006/relationships/chart" Target="../charts/chart22.xml"/><Relationship Id="rId12" Type="http://schemas.openxmlformats.org/officeDocument/2006/relationships/chart" Target="../charts/chart23.xml"/><Relationship Id="rId13" Type="http://schemas.openxmlformats.org/officeDocument/2006/relationships/chart" Target="../charts/chart24.xml"/></Relationships>
</file>

<file path=ppt/slides/_rels/slide3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7.xml"/><Relationship Id="rId3" Type="http://schemas.openxmlformats.org/officeDocument/2006/relationships/notesSlide" Target="../notesSlides/notesSlide3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3.xml"/><Relationship Id="rId7" Type="http://schemas.openxmlformats.org/officeDocument/2006/relationships/chart" Target="../charts/chart234.xml"/><Relationship Id="rId8" Type="http://schemas.openxmlformats.org/officeDocument/2006/relationships/chart" Target="../charts/chart235.xml"/><Relationship Id="rId9" Type="http://schemas.openxmlformats.org/officeDocument/2006/relationships/chart" Target="../charts/chart236.xml"/><Relationship Id="rId10" Type="http://schemas.openxmlformats.org/officeDocument/2006/relationships/chart" Target="../charts/chart237.xml"/><Relationship Id="rId11" Type="http://schemas.openxmlformats.org/officeDocument/2006/relationships/chart" Target="../charts/chart238.xml"/><Relationship Id="rId12" Type="http://schemas.openxmlformats.org/officeDocument/2006/relationships/chart" Target="../charts/chart239.xml"/><Relationship Id="rId13" Type="http://schemas.openxmlformats.org/officeDocument/2006/relationships/chart" Target="../charts/chart240.xml"/></Relationships>
</file>

<file path=ppt/slides/_rels/slide3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7.xml"/><Relationship Id="rId3" Type="http://schemas.openxmlformats.org/officeDocument/2006/relationships/notesSlide" Target="../notesSlides/notesSlide3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1.xml"/><Relationship Id="rId7" Type="http://schemas.openxmlformats.org/officeDocument/2006/relationships/chart" Target="../charts/chart242.xml"/><Relationship Id="rId8" Type="http://schemas.openxmlformats.org/officeDocument/2006/relationships/chart" Target="../charts/chart243.xml"/><Relationship Id="rId9" Type="http://schemas.openxmlformats.org/officeDocument/2006/relationships/chart" Target="../charts/chart244.xml"/><Relationship Id="rId10" Type="http://schemas.openxmlformats.org/officeDocument/2006/relationships/chart" Target="../charts/chart245.xml"/><Relationship Id="rId11" Type="http://schemas.openxmlformats.org/officeDocument/2006/relationships/chart" Target="../charts/chart246.xml"/><Relationship Id="rId12" Type="http://schemas.openxmlformats.org/officeDocument/2006/relationships/chart" Target="../charts/chart247.xml"/><Relationship Id="rId13" Type="http://schemas.openxmlformats.org/officeDocument/2006/relationships/chart" Target="../charts/chart248.xml"/></Relationships>
</file>

<file path=ppt/slides/_rels/slide32.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7.xml"/><Relationship Id="rId3" Type="http://schemas.openxmlformats.org/officeDocument/2006/relationships/notesSlide" Target="../notesSlides/notesSlide3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9.xml"/><Relationship Id="rId7" Type="http://schemas.openxmlformats.org/officeDocument/2006/relationships/chart" Target="../charts/chart250.xml"/><Relationship Id="rId8" Type="http://schemas.openxmlformats.org/officeDocument/2006/relationships/chart" Target="../charts/chart251.xml"/><Relationship Id="rId9" Type="http://schemas.openxmlformats.org/officeDocument/2006/relationships/chart" Target="../charts/chart252.xml"/><Relationship Id="rId10" Type="http://schemas.openxmlformats.org/officeDocument/2006/relationships/chart" Target="../charts/chart253.xml"/><Relationship Id="rId11" Type="http://schemas.openxmlformats.org/officeDocument/2006/relationships/chart" Target="../charts/chart254.xml"/><Relationship Id="rId12" Type="http://schemas.openxmlformats.org/officeDocument/2006/relationships/chart" Target="../charts/chart255.xml"/><Relationship Id="rId13" Type="http://schemas.openxmlformats.org/officeDocument/2006/relationships/chart" Target="../charts/chart256.xml"/></Relationships>
</file>

<file path=ppt/slides/_rels/slide3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7.xml"/><Relationship Id="rId3" Type="http://schemas.openxmlformats.org/officeDocument/2006/relationships/notesSlide" Target="../notesSlides/notesSlide3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7.xml"/><Relationship Id="rId7" Type="http://schemas.openxmlformats.org/officeDocument/2006/relationships/chart" Target="../charts/chart258.xml"/><Relationship Id="rId8" Type="http://schemas.openxmlformats.org/officeDocument/2006/relationships/chart" Target="../charts/chart259.xml"/><Relationship Id="rId9" Type="http://schemas.openxmlformats.org/officeDocument/2006/relationships/chart" Target="../charts/chart260.xml"/><Relationship Id="rId10" Type="http://schemas.openxmlformats.org/officeDocument/2006/relationships/chart" Target="../charts/chart261.xml"/><Relationship Id="rId11" Type="http://schemas.openxmlformats.org/officeDocument/2006/relationships/chart" Target="../charts/chart262.xml"/><Relationship Id="rId12" Type="http://schemas.openxmlformats.org/officeDocument/2006/relationships/chart" Target="../charts/chart263.xml"/><Relationship Id="rId13" Type="http://schemas.openxmlformats.org/officeDocument/2006/relationships/chart" Target="../charts/chart264.xml"/></Relationships>
</file>

<file path=ppt/slides/_rels/slide3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7.xml"/><Relationship Id="rId3" Type="http://schemas.openxmlformats.org/officeDocument/2006/relationships/notesSlide" Target="../notesSlides/notesSlide3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s>
</file>

<file path=ppt/slides/_rels/slide3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7.xml"/><Relationship Id="rId3" Type="http://schemas.openxmlformats.org/officeDocument/2006/relationships/notesSlide" Target="../notesSlides/notesSlide3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3.xml"/><Relationship Id="rId7" Type="http://schemas.openxmlformats.org/officeDocument/2006/relationships/chart" Target="../charts/chart274.xml"/><Relationship Id="rId8" Type="http://schemas.openxmlformats.org/officeDocument/2006/relationships/chart" Target="../charts/chart275.xml"/><Relationship Id="rId9" Type="http://schemas.openxmlformats.org/officeDocument/2006/relationships/chart" Target="../charts/chart276.xml"/><Relationship Id="rId10" Type="http://schemas.openxmlformats.org/officeDocument/2006/relationships/chart" Target="../charts/chart277.xml"/><Relationship Id="rId11" Type="http://schemas.openxmlformats.org/officeDocument/2006/relationships/chart" Target="../charts/chart278.xml"/><Relationship Id="rId12" Type="http://schemas.openxmlformats.org/officeDocument/2006/relationships/chart" Target="../charts/chart279.xml"/><Relationship Id="rId13" Type="http://schemas.openxmlformats.org/officeDocument/2006/relationships/chart" Target="../charts/chart280.xml"/></Relationships>
</file>

<file path=ppt/slides/_rels/slide3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7.xml"/><Relationship Id="rId3" Type="http://schemas.openxmlformats.org/officeDocument/2006/relationships/notesSlide" Target="../notesSlides/notesSlide3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1.xml"/><Relationship Id="rId7" Type="http://schemas.openxmlformats.org/officeDocument/2006/relationships/chart" Target="../charts/chart282.xml"/><Relationship Id="rId8" Type="http://schemas.openxmlformats.org/officeDocument/2006/relationships/chart" Target="../charts/chart283.xml"/><Relationship Id="rId9" Type="http://schemas.openxmlformats.org/officeDocument/2006/relationships/chart" Target="../charts/chart284.xml"/><Relationship Id="rId10" Type="http://schemas.openxmlformats.org/officeDocument/2006/relationships/chart" Target="../charts/chart285.xml"/><Relationship Id="rId11" Type="http://schemas.openxmlformats.org/officeDocument/2006/relationships/chart" Target="../charts/chart286.xml"/><Relationship Id="rId12" Type="http://schemas.openxmlformats.org/officeDocument/2006/relationships/chart" Target="../charts/chart287.xml"/><Relationship Id="rId13" Type="http://schemas.openxmlformats.org/officeDocument/2006/relationships/chart" Target="../charts/chart288.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xml"/><Relationship Id="rId7" Type="http://schemas.openxmlformats.org/officeDocument/2006/relationships/chart" Target="../charts/chart26.xml"/><Relationship Id="rId8" Type="http://schemas.openxmlformats.org/officeDocument/2006/relationships/chart" Target="../charts/chart27.xml"/><Relationship Id="rId9" Type="http://schemas.openxmlformats.org/officeDocument/2006/relationships/chart" Target="../charts/chart28.xml"/><Relationship Id="rId10" Type="http://schemas.openxmlformats.org/officeDocument/2006/relationships/chart" Target="../charts/chart29.xml"/><Relationship Id="rId11" Type="http://schemas.openxmlformats.org/officeDocument/2006/relationships/chart" Target="../charts/chart30.xml"/><Relationship Id="rId12" Type="http://schemas.openxmlformats.org/officeDocument/2006/relationships/chart" Target="../charts/chart31.xml"/><Relationship Id="rId13" Type="http://schemas.openxmlformats.org/officeDocument/2006/relationships/chart" Target="../charts/chart32.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3.xml"/><Relationship Id="rId7" Type="http://schemas.openxmlformats.org/officeDocument/2006/relationships/chart" Target="../charts/chart34.xml"/><Relationship Id="rId8" Type="http://schemas.openxmlformats.org/officeDocument/2006/relationships/chart" Target="../charts/chart35.xml"/><Relationship Id="rId9" Type="http://schemas.openxmlformats.org/officeDocument/2006/relationships/chart" Target="../charts/chart36.xml"/><Relationship Id="rId10" Type="http://schemas.openxmlformats.org/officeDocument/2006/relationships/chart" Target="../charts/chart37.xml"/><Relationship Id="rId11" Type="http://schemas.openxmlformats.org/officeDocument/2006/relationships/chart" Target="../charts/chart38.xml"/><Relationship Id="rId12" Type="http://schemas.openxmlformats.org/officeDocument/2006/relationships/chart" Target="../charts/chart39.xml"/><Relationship Id="rId13" Type="http://schemas.openxmlformats.org/officeDocument/2006/relationships/chart" Target="../charts/chart40.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1.xml"/><Relationship Id="rId7" Type="http://schemas.openxmlformats.org/officeDocument/2006/relationships/chart" Target="../charts/chart42.xml"/><Relationship Id="rId8" Type="http://schemas.openxmlformats.org/officeDocument/2006/relationships/chart" Target="../charts/chart43.xml"/><Relationship Id="rId9" Type="http://schemas.openxmlformats.org/officeDocument/2006/relationships/chart" Target="../charts/chart44.xml"/><Relationship Id="rId10" Type="http://schemas.openxmlformats.org/officeDocument/2006/relationships/chart" Target="../charts/chart45.xml"/><Relationship Id="rId11" Type="http://schemas.openxmlformats.org/officeDocument/2006/relationships/chart" Target="../charts/chart46.xml"/><Relationship Id="rId12" Type="http://schemas.openxmlformats.org/officeDocument/2006/relationships/chart" Target="../charts/chart47.xml"/><Relationship Id="rId13" Type="http://schemas.openxmlformats.org/officeDocument/2006/relationships/chart" Target="../charts/chart48.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9.xml"/><Relationship Id="rId7" Type="http://schemas.openxmlformats.org/officeDocument/2006/relationships/chart" Target="../charts/chart50.xml"/><Relationship Id="rId8" Type="http://schemas.openxmlformats.org/officeDocument/2006/relationships/chart" Target="../charts/chart51.xml"/><Relationship Id="rId9" Type="http://schemas.openxmlformats.org/officeDocument/2006/relationships/chart" Target="../charts/chart52.xml"/><Relationship Id="rId10" Type="http://schemas.openxmlformats.org/officeDocument/2006/relationships/chart" Target="../charts/chart53.xml"/><Relationship Id="rId11" Type="http://schemas.openxmlformats.org/officeDocument/2006/relationships/chart" Target="../charts/chart54.xml"/><Relationship Id="rId12" Type="http://schemas.openxmlformats.org/officeDocument/2006/relationships/chart" Target="../charts/chart55.xml"/><Relationship Id="rId13" Type="http://schemas.openxmlformats.org/officeDocument/2006/relationships/chart" Target="../charts/chart56.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7.xml"/><Relationship Id="rId7" Type="http://schemas.openxmlformats.org/officeDocument/2006/relationships/chart" Target="../charts/chart58.xml"/><Relationship Id="rId8" Type="http://schemas.openxmlformats.org/officeDocument/2006/relationships/chart" Target="../charts/chart59.xml"/><Relationship Id="rId9" Type="http://schemas.openxmlformats.org/officeDocument/2006/relationships/chart" Target="../charts/chart60.xml"/><Relationship Id="rId10" Type="http://schemas.openxmlformats.org/officeDocument/2006/relationships/chart" Target="../charts/chart61.xml"/><Relationship Id="rId11" Type="http://schemas.openxmlformats.org/officeDocument/2006/relationships/chart" Target="../charts/chart62.xml"/><Relationship Id="rId12" Type="http://schemas.openxmlformats.org/officeDocument/2006/relationships/chart" Target="../charts/chart63.xml"/><Relationship Id="rId13" Type="http://schemas.openxmlformats.org/officeDocument/2006/relationships/chart" Target="../charts/chart64.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5.xml"/><Relationship Id="rId7" Type="http://schemas.openxmlformats.org/officeDocument/2006/relationships/chart" Target="../charts/chart66.xml"/><Relationship Id="rId8" Type="http://schemas.openxmlformats.org/officeDocument/2006/relationships/chart" Target="../charts/chart67.xml"/><Relationship Id="rId9" Type="http://schemas.openxmlformats.org/officeDocument/2006/relationships/chart" Target="../charts/chart68.xml"/><Relationship Id="rId10" Type="http://schemas.openxmlformats.org/officeDocument/2006/relationships/chart" Target="../charts/chart69.xml"/><Relationship Id="rId11" Type="http://schemas.openxmlformats.org/officeDocument/2006/relationships/chart" Target="../charts/chart70.xml"/><Relationship Id="rId12" Type="http://schemas.openxmlformats.org/officeDocument/2006/relationships/chart" Target="../charts/chart71.xml"/><Relationship Id="rId13" Type="http://schemas.openxmlformats.org/officeDocument/2006/relationships/chart" Target="../charts/char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443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520424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17637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380813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105967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85515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3975367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65628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505318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oft Chees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Aperitif</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Ingredient A Chaud</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6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07921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377105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37968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0748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459229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7559168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863096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0157622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38781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946791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6418018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978436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683141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Kiri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18289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0</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8960447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1</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793106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2</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26576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3</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49170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424381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gridCol w="935716">
                  <a:extLst>
                    <a:ext uri="{9D8B030D-6E8A-4147-A177-3AD203B41FA5}">
                      <a16:colId xmlns:a16="http://schemas.microsoft.com/office/drawing/2014/main" val="1964244355"/>
                    </a:ext>
                  </a:extLst>
                </a:gridCol>
                <a:gridCol w="935716">
                  <a:extLst>
                    <a:ext uri="{9D8B030D-6E8A-4147-A177-3AD203B41FA5}">
                      <a16:colId xmlns:a16="http://schemas.microsoft.com/office/drawing/2014/main" val="356097356"/>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Enfant</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Frais A Tartiner</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alad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lassiqu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a:solidFill>
                            <a:srgbClr val="575555"/>
                          </a:solidFill>
                          <a:latin typeface="Nexa Bold (Headings)"/>
                        </a:rPr>
                        <a:t>Value</a:t>
                      </a:r>
                      <a:endParaRPr lang="en-US" sz="800" b="0" dirty="0">
                        <a:solidFill>
                          <a:srgbClr val="575555"/>
                        </a:solidFill>
                        <a:latin typeface="Nexa Bold (Heading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 name="T1-C2">
            <a:extLst>
              <a:ext uri="{FF2B5EF4-FFF2-40B4-BE49-F238E27FC236}">
                <a16:creationId xmlns:a16="http://schemas.microsoft.com/office/drawing/2014/main" id="{B7C209DB-AD36-D6BC-0048-B5CD644E1279}"/>
              </a:ext>
            </a:extLst>
          </p:cNvPr>
          <p:cNvGraphicFramePr>
            <a:graphicFrameLocks/>
          </p:cNvGraphicFramePr>
          <p:nvPr>
            <p:extLst>
              <p:ext uri="{D42A27DB-BD31-4B8C-83A1-F6EECF244321}">
                <p14:modId xmlns:p14="http://schemas.microsoft.com/office/powerpoint/2010/main" val="1735360864"/>
              </p:ext>
            </p:extLst>
          </p:nvPr>
        </p:nvGraphicFramePr>
        <p:xfrm>
          <a:off x="6866252" y="1870394"/>
          <a:ext cx="839733" cy="283464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2" name="T1-C2">
            <a:extLst>
              <a:ext uri="{FF2B5EF4-FFF2-40B4-BE49-F238E27FC236}">
                <a16:creationId xmlns:a16="http://schemas.microsoft.com/office/drawing/2014/main" id="{A8EA5DC0-31C5-78B2-A674-457D7E9178FD}"/>
              </a:ext>
            </a:extLst>
          </p:cNvPr>
          <p:cNvGraphicFramePr>
            <a:graphicFrameLocks/>
          </p:cNvGraphicFramePr>
          <p:nvPr>
            <p:extLst>
              <p:ext uri="{D42A27DB-BD31-4B8C-83A1-F6EECF244321}">
                <p14:modId xmlns:p14="http://schemas.microsoft.com/office/powerpoint/2010/main" val="1343166520"/>
              </p:ext>
            </p:extLst>
          </p:nvPr>
        </p:nvGraphicFramePr>
        <p:xfrm>
          <a:off x="7754804" y="1866949"/>
          <a:ext cx="694712" cy="28728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497313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gridCol w="935716">
                  <a:extLst>
                    <a:ext uri="{9D8B030D-6E8A-4147-A177-3AD203B41FA5}">
                      <a16:colId xmlns:a16="http://schemas.microsoft.com/office/drawing/2014/main" val="815751563"/>
                    </a:ext>
                  </a:extLst>
                </a:gridCol>
                <a:gridCol w="935716">
                  <a:extLst>
                    <a:ext uri="{9D8B030D-6E8A-4147-A177-3AD203B41FA5}">
                      <a16:colId xmlns:a16="http://schemas.microsoft.com/office/drawing/2014/main" val="3305075663"/>
                    </a:ext>
                  </a:extLst>
                </a:gridCol>
                <a:gridCol w="935716">
                  <a:extLst>
                    <a:ext uri="{9D8B030D-6E8A-4147-A177-3AD203B41FA5}">
                      <a16:colId xmlns:a16="http://schemas.microsoft.com/office/drawing/2014/main" val="2515769238"/>
                    </a:ext>
                  </a:extLst>
                </a:gridCol>
                <a:gridCol w="935716">
                  <a:extLst>
                    <a:ext uri="{9D8B030D-6E8A-4147-A177-3AD203B41FA5}">
                      <a16:colId xmlns:a16="http://schemas.microsoft.com/office/drawing/2014/main" val="2824892704"/>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Chevr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1000" b="0">
                          <a:solidFill>
                            <a:srgbClr val="575555"/>
                          </a:solidFill>
                          <a:latin typeface="Nexa Bold"/>
                        </a:defRPr>
                      </a:pPr>
                      <a:r>
                        <a:t>Brebis</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Specialit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highlight>
                          <a:srgbClr val="FFFF00"/>
                        </a:highlight>
                        <a:uLnTx/>
                        <a:uFillTx/>
                        <a:latin typeface="Nexa Bold"/>
                        <a:ea typeface="+mn-ea"/>
                        <a:cs typeface="+mn-c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rtl="0" fontAlgn="ctr"/>
                      <a:endParaRPr lang="en-CH" sz="800" b="1" i="0" u="none" strike="noStrike" dirty="0">
                        <a:solidFill>
                          <a:srgbClr val="00A097"/>
                        </a:solidFill>
                        <a:effectLst/>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marL="0" algn="ctr" defTabSz="914400" rtl="0" eaLnBrk="1" fontAlgn="b" latinLnBrk="0" hangingPunct="1"/>
                      <a:endParaRPr lang="en-AE" sz="800" dirty="0">
                        <a:solidFill>
                          <a:srgbClr val="575555"/>
                        </a:solidFill>
                        <a:latin typeface="Nexa Book" panose="00000400000000000000" pitchFamily="2"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gment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T1-C2">
            <a:extLst>
              <a:ext uri="{FF2B5EF4-FFF2-40B4-BE49-F238E27FC236}">
                <a16:creationId xmlns:a16="http://schemas.microsoft.com/office/drawing/2014/main" id="{C6A9B321-5054-B5FF-79E0-FDFEA6E96CFC}"/>
              </a:ext>
            </a:extLst>
          </p:cNvPr>
          <p:cNvGraphicFramePr>
            <a:graphicFrameLocks/>
          </p:cNvGraphicFramePr>
          <p:nvPr>
            <p:extLst>
              <p:ext uri="{D42A27DB-BD31-4B8C-83A1-F6EECF244321}">
                <p14:modId xmlns:p14="http://schemas.microsoft.com/office/powerpoint/2010/main" val="3312055223"/>
              </p:ext>
            </p:extLst>
          </p:nvPr>
        </p:nvGraphicFramePr>
        <p:xfrm>
          <a:off x="3120233" y="1867434"/>
          <a:ext cx="839733" cy="283464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1-C2">
            <a:extLst>
              <a:ext uri="{FF2B5EF4-FFF2-40B4-BE49-F238E27FC236}">
                <a16:creationId xmlns:a16="http://schemas.microsoft.com/office/drawing/2014/main" id="{D1E0C589-851C-F878-B5DC-C59FD4E51A49}"/>
              </a:ext>
            </a:extLst>
          </p:cNvPr>
          <p:cNvGraphicFramePr>
            <a:graphicFrameLocks/>
          </p:cNvGraphicFramePr>
          <p:nvPr>
            <p:extLst>
              <p:ext uri="{D42A27DB-BD31-4B8C-83A1-F6EECF244321}">
                <p14:modId xmlns:p14="http://schemas.microsoft.com/office/powerpoint/2010/main" val="3643488174"/>
              </p:ext>
            </p:extLst>
          </p:nvPr>
        </p:nvGraphicFramePr>
        <p:xfrm>
          <a:off x="4008785" y="1858106"/>
          <a:ext cx="694712" cy="28718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T1-C2">
            <a:extLst>
              <a:ext uri="{FF2B5EF4-FFF2-40B4-BE49-F238E27FC236}">
                <a16:creationId xmlns:a16="http://schemas.microsoft.com/office/drawing/2014/main" id="{A8FBEECB-9A0E-B8B6-F5CC-150671227EB1}"/>
              </a:ext>
            </a:extLst>
          </p:cNvPr>
          <p:cNvGraphicFramePr>
            <a:graphicFrameLocks/>
          </p:cNvGraphicFramePr>
          <p:nvPr>
            <p:extLst>
              <p:ext uri="{D42A27DB-BD31-4B8C-83A1-F6EECF244321}">
                <p14:modId xmlns:p14="http://schemas.microsoft.com/office/powerpoint/2010/main" val="388101787"/>
              </p:ext>
            </p:extLst>
          </p:nvPr>
        </p:nvGraphicFramePr>
        <p:xfrm>
          <a:off x="4993241" y="1880202"/>
          <a:ext cx="839733" cy="28346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 name="T1-C2">
            <a:extLst>
              <a:ext uri="{FF2B5EF4-FFF2-40B4-BE49-F238E27FC236}">
                <a16:creationId xmlns:a16="http://schemas.microsoft.com/office/drawing/2014/main" id="{3D7A6D8F-827D-B944-06B7-42358A9CE139}"/>
              </a:ext>
            </a:extLst>
          </p:cNvPr>
          <p:cNvGraphicFramePr>
            <a:graphicFrameLocks/>
          </p:cNvGraphicFramePr>
          <p:nvPr>
            <p:extLst>
              <p:ext uri="{D42A27DB-BD31-4B8C-83A1-F6EECF244321}">
                <p14:modId xmlns:p14="http://schemas.microsoft.com/office/powerpoint/2010/main" val="1599303721"/>
              </p:ext>
            </p:extLst>
          </p:nvPr>
        </p:nvGraphicFramePr>
        <p:xfrm>
          <a:off x="5881793" y="1861066"/>
          <a:ext cx="694712" cy="2872800"/>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191020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72199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0%</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0355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La Vache Qui Rit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7%</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35619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3%</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8%</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NATIONAL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9276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9%</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34%</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Carrefour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2410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1">
            <a:extLst>
              <a:ext uri="{FF2B5EF4-FFF2-40B4-BE49-F238E27FC236}">
                <a16:creationId xmlns:a16="http://schemas.microsoft.com/office/drawing/2014/main" id="{332C12DD-FC79-8DB9-45F4-A8AA05EB880F}"/>
              </a:ext>
            </a:extLst>
          </p:cNvPr>
          <p:cNvGraphicFramePr>
            <a:graphicFrameLocks noGrp="1"/>
          </p:cNvGraphicFramePr>
          <p:nvPr>
            <p:extLst>
              <p:ext uri="{D42A27DB-BD31-4B8C-83A1-F6EECF244321}">
                <p14:modId xmlns:p14="http://schemas.microsoft.com/office/powerpoint/2010/main" val="3975934540"/>
              </p:ext>
            </p:extLst>
          </p:nvPr>
        </p:nvGraphicFramePr>
        <p:xfrm>
          <a:off x="503241" y="1123932"/>
          <a:ext cx="8137522" cy="3606210"/>
        </p:xfrm>
        <a:graphic>
          <a:graphicData uri="http://schemas.openxmlformats.org/drawingml/2006/table">
            <a:tbl>
              <a:tblPr firstRow="1" bandRow="1">
                <a:tableStyleId>{5C22544A-7EE6-4342-B048-85BDC9FD1C3A}</a:tableStyleId>
              </a:tblPr>
              <a:tblGrid>
                <a:gridCol w="651794">
                  <a:extLst>
                    <a:ext uri="{9D8B030D-6E8A-4147-A177-3AD203B41FA5}">
                      <a16:colId xmlns:a16="http://schemas.microsoft.com/office/drawing/2014/main" val="197945009"/>
                    </a:ext>
                  </a:extLst>
                </a:gridCol>
                <a:gridCol w="935716">
                  <a:extLst>
                    <a:ext uri="{9D8B030D-6E8A-4147-A177-3AD203B41FA5}">
                      <a16:colId xmlns:a16="http://schemas.microsoft.com/office/drawing/2014/main" val="252781202"/>
                    </a:ext>
                  </a:extLst>
                </a:gridCol>
                <a:gridCol w="935716">
                  <a:extLst>
                    <a:ext uri="{9D8B030D-6E8A-4147-A177-3AD203B41FA5}">
                      <a16:colId xmlns:a16="http://schemas.microsoft.com/office/drawing/2014/main" val="4162334268"/>
                    </a:ext>
                  </a:extLst>
                </a:gridCol>
              </a:tblGrid>
              <a:tr h="306000">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dirty="0">
                        <a:solidFill>
                          <a:srgbClr val="575555"/>
                        </a:solidFill>
                        <a:latin typeface="Nexa Bold (Headings)"/>
                      </a:endParaRP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gridSpan="2">
                  <a:txBody>
                    <a:bodyPr/>
                    <a:lstStyle/>
                    <a:p>
                      <a:pPr algn="ctr">
                        <a:defRPr sz="1000" b="0">
                          <a:solidFill>
                            <a:srgbClr val="575555"/>
                          </a:solidFill>
                          <a:latin typeface="Nexa Bold"/>
                        </a:defRPr>
                      </a:pPr>
                      <a:r>
                        <a:t>Total Fromage</a:t>
                      </a:r>
                    </a:p>
                  </a:txBody>
                  <a:tcPr marL="68580" marR="6858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75555"/>
                        </a:solidFill>
                        <a:effectLst/>
                        <a:uLnTx/>
                        <a:uFillTx/>
                        <a:latin typeface="Nexa Bold"/>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9693191"/>
                  </a:ext>
                </a:extLst>
              </a:tr>
              <a:tr h="432378">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Value</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800" b="0" dirty="0">
                          <a:solidFill>
                            <a:srgbClr val="575555"/>
                          </a:solidFill>
                          <a:latin typeface="Nexa Bold (Headings)"/>
                        </a:rPr>
                        <a:t>Share (%)</a:t>
                      </a:r>
                      <a:endParaRPr kumimoji="0" lang="en-US" sz="800" b="0" i="0" u="none" strike="noStrike" kern="1200" cap="none" spc="0" normalizeH="0" baseline="0" noProof="0" dirty="0">
                        <a:ln>
                          <a:noFill/>
                        </a:ln>
                        <a:solidFill>
                          <a:srgbClr val="575555"/>
                        </a:solidFill>
                        <a:effectLst/>
                        <a:uLnTx/>
                        <a:uFillTx/>
                        <a:latin typeface="Nexa Bold"/>
                        <a:ea typeface="+mn-ea"/>
                        <a:cs typeface="+mn-cs"/>
                      </a:endParaRP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800">
                          <a:latin typeface="Nexa Bold (Headings)"/>
                        </a:defRPr>
                      </a:pPr>
                      <a:r>
                        <a:t>Boursin VS </a:t>
                      </a:r>
                      <a:r>
                        <a:rPr>
                          <a:solidFill>
                            <a:srgbClr val="00A097"/>
                          </a:solidFill>
                        </a:rPr>
                        <a:t>| WOB</a:t>
                      </a:r>
                    </a:p>
                  </a:txBody>
                  <a:tcPr marL="68580" marR="68580" marT="34290" marB="342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0712">
                <a:tc>
                  <a:txBody>
                    <a:bodyPr/>
                    <a:lstStyle/>
                    <a:p>
                      <a:pPr algn="ctr">
                        <a:defRPr sz="700">
                          <a:latin typeface="Nexa Bold (Headings)"/>
                        </a:defRPr>
                      </a:pPr>
                      <a:r>
                        <a:t>6+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676734682"/>
                  </a:ext>
                </a:extLst>
              </a:tr>
              <a:tr h="260712">
                <a:tc>
                  <a:txBody>
                    <a:bodyPr/>
                    <a:lstStyle/>
                    <a:p>
                      <a:pPr algn="ctr">
                        <a:defRPr sz="700">
                          <a:latin typeface="Nexa Bold (Headings)"/>
                        </a:defRPr>
                      </a:pPr>
                      <a:r>
                        <a:t>5.5-5.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19674815"/>
                  </a:ext>
                </a:extLst>
              </a:tr>
              <a:tr h="260712">
                <a:tc>
                  <a:txBody>
                    <a:bodyPr/>
                    <a:lstStyle/>
                    <a:p>
                      <a:pPr algn="ctr">
                        <a:defRPr sz="700">
                          <a:latin typeface="Nexa Bold (Headings)"/>
                        </a:defRPr>
                      </a:pPr>
                      <a:r>
                        <a:t>5-5.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mn-ea"/>
                        <a:cs typeface="+mn-cs"/>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956484732"/>
                  </a:ext>
                </a:extLst>
              </a:tr>
              <a:tr h="260712">
                <a:tc>
                  <a:txBody>
                    <a:bodyPr/>
                    <a:lstStyle/>
                    <a:p>
                      <a:pPr algn="ctr">
                        <a:defRPr sz="700">
                          <a:latin typeface="Nexa Bold (Headings)"/>
                        </a:defRPr>
                      </a:pPr>
                      <a:r>
                        <a:t>4.5-4.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884583823"/>
                  </a:ext>
                </a:extLst>
              </a:tr>
              <a:tr h="260712">
                <a:tc>
                  <a:txBody>
                    <a:bodyPr/>
                    <a:lstStyle/>
                    <a:p>
                      <a:pPr algn="ctr">
                        <a:defRPr sz="700">
                          <a:latin typeface="Nexa Bold (Headings)"/>
                        </a:defRPr>
                      </a:pPr>
                      <a:r>
                        <a:t>4-4.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404639296"/>
                  </a:ext>
                </a:extLst>
              </a:tr>
              <a:tr h="260712">
                <a:tc>
                  <a:txBody>
                    <a:bodyPr/>
                    <a:lstStyle/>
                    <a:p>
                      <a:pPr algn="ctr">
                        <a:defRPr sz="700">
                          <a:latin typeface="Nexa Bold (Headings)"/>
                        </a:defRPr>
                      </a:pPr>
                      <a:r>
                        <a:t>3.5-3.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26%</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0712">
                <a:tc>
                  <a:txBody>
                    <a:bodyPr/>
                    <a:lstStyle/>
                    <a:p>
                      <a:pPr algn="ctr">
                        <a:defRPr sz="700">
                          <a:latin typeface="Nexa Bold (Headings)"/>
                        </a:defRPr>
                      </a:pPr>
                      <a:r>
                        <a:t>3-3.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1%</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395024171"/>
                  </a:ext>
                </a:extLst>
              </a:tr>
              <a:tr h="260712">
                <a:tc>
                  <a:txBody>
                    <a:bodyPr/>
                    <a:lstStyle/>
                    <a:p>
                      <a:pPr algn="ctr">
                        <a:defRPr sz="700">
                          <a:latin typeface="Nexa Bold (Headings)"/>
                        </a:defRPr>
                      </a:pPr>
                      <a:r>
                        <a:t>2.5-2.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12%</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28448333"/>
                  </a:ext>
                </a:extLst>
              </a:tr>
              <a:tr h="260712">
                <a:tc>
                  <a:txBody>
                    <a:bodyPr/>
                    <a:lstStyle/>
                    <a:p>
                      <a:pPr algn="ctr">
                        <a:defRPr sz="700">
                          <a:latin typeface="Nexa Bold (Headings)"/>
                        </a:defRPr>
                      </a:pPr>
                      <a:r>
                        <a:t>2-2.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4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892920299"/>
                  </a:ext>
                </a:extLst>
              </a:tr>
              <a:tr h="260712">
                <a:tc>
                  <a:txBody>
                    <a:bodyPr/>
                    <a:lstStyle/>
                    <a:p>
                      <a:pPr algn="ctr">
                        <a:defRPr sz="700">
                          <a:latin typeface="Nexa Bold (Headings)"/>
                        </a:defRPr>
                      </a:pPr>
                      <a:r>
                        <a:t>1.5-1.9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r>
                        <a:t>5%</a:t>
                      </a: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963359277"/>
                  </a:ext>
                </a:extLst>
              </a:tr>
              <a:tr h="260712">
                <a:tc>
                  <a:txBody>
                    <a:bodyPr/>
                    <a:lstStyle/>
                    <a:p>
                      <a:pPr algn="ctr">
                        <a:defRPr sz="700">
                          <a:latin typeface="Nexa Bold (Headings)"/>
                        </a:defRPr>
                      </a:pPr>
                      <a:r>
                        <a:t>0-1.49 €</a:t>
                      </a:r>
                    </a:p>
                  </a:txBody>
                  <a:tcPr marL="7144" marR="7144" marT="7144"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ctr" fontAlgn="b"/>
                      <a:endParaRPr lang="en-US" sz="800" b="0" i="0" u="none" strike="noStrike" dirty="0">
                        <a:solidFill>
                          <a:srgbClr val="575555"/>
                        </a:solidFill>
                        <a:effectLst/>
                        <a:latin typeface="Nexa Book" panose="00000400000000000000" pitchFamily="2" charset="0"/>
                        <a:ea typeface="Open Sans" panose="020B0604020202020204" charset="0"/>
                        <a:cs typeface="Open Sans" panose="020B0604020202020204" charset="0"/>
                      </a:endParaR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tc>
                  <a:txBody>
                    <a:bodyPr/>
                    <a:lstStyle/>
                    <a:p>
                      <a:pPr algn="r">
                        <a:defRPr sz="800" b="1">
                          <a:solidFill>
                            <a:srgbClr val="00A097"/>
                          </a:solidFill>
                          <a:latin typeface="Nexa Book"/>
                        </a:defRPr>
                      </a:pPr>
                    </a:p>
                  </a:txBody>
                  <a:tcPr marL="0" marR="0" marT="0" marB="0" anchor="ctr">
                    <a:lnL w="12700"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548742145"/>
                  </a:ext>
                </a:extLst>
              </a:tr>
            </a:tbl>
          </a:graphicData>
        </a:graphic>
      </p:graphicFrame>
      <p:graphicFrame>
        <p:nvGraphicFramePr>
          <p:cNvPr id="19" name="think-cell data - do not delete" hidden="1">
            <a:extLst>
              <a:ext uri="{FF2B5EF4-FFF2-40B4-BE49-F238E27FC236}">
                <a16:creationId xmlns:a16="http://schemas.microsoft.com/office/drawing/2014/main" id="{81AC2D72-720A-C678-686D-9DD53248658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1AC2D72-720A-C678-686D-9DD53248658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ooter Placeholder 9">
            <a:extLst>
              <a:ext uri="{FF2B5EF4-FFF2-40B4-BE49-F238E27FC236}">
                <a16:creationId xmlns:a16="http://schemas.microsoft.com/office/drawing/2014/main" id="{584E5CF4-4851-0530-4F3F-7537BEF19718}"/>
              </a:ext>
            </a:extLst>
          </p:cNvPr>
          <p:cNvSpPr>
            <a:spLocks noGrp="1"/>
          </p:cNvSpPr>
          <p:nvPr>
            <p:ph type="ftr" sz="quarter" idx="15"/>
          </p:nvPr>
        </p:nvSpPr>
        <p:spPr>
          <a:xfrm>
            <a:off x="546969" y="4970700"/>
            <a:ext cx="6451742" cy="174151"/>
          </a:xfrm>
        </p:spPr>
        <p:txBody>
          <a:bodyPr/>
          <a:lstStyle/>
          <a:p>
            <a:pPr lvl="0"/>
            <a:endParaRPr lang="en-US" noProof="0"/>
          </a:p>
        </p:txBody>
      </p:sp>
      <p:sp>
        <p:nvSpPr>
          <p:cNvPr id="9" name="Slide Number Placeholder 8">
            <a:extLst>
              <a:ext uri="{FF2B5EF4-FFF2-40B4-BE49-F238E27FC236}">
                <a16:creationId xmlns:a16="http://schemas.microsoft.com/office/drawing/2014/main" id="{3AB2FC9A-4689-5712-3B0E-9527459D4240}"/>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DA11EC93-7F9D-9067-BAB9-C6D63C868E5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5472CA65-E1CA-B6F7-A6A2-9ABEE1BC1F9B}"/>
              </a:ext>
            </a:extLst>
          </p:cNvPr>
          <p:cNvSpPr>
            <a:spLocks noGrp="1"/>
          </p:cNvSpPr>
          <p:nvPr>
            <p:ph type="body" sz="quarter" idx="18"/>
          </p:nvPr>
        </p:nvSpPr>
        <p:spPr>
          <a:xfrm>
            <a:off x="503238" y="774000"/>
            <a:ext cx="8136762" cy="360000"/>
          </a:xfrm>
        </p:spPr>
        <p:txBody>
          <a:bodyPr/>
          <a:lstStyle/>
          <a:p>
            <a:pPr>
              <a:defRPr b="1" sz="1200"/>
            </a:pPr>
            <a:r>
              <a:t>Brand Share Topline By Base Price Bracket | By Sector | Intermarche | P12M</a:t>
            </a:r>
          </a:p>
        </p:txBody>
      </p:sp>
      <p:sp>
        <p:nvSpPr>
          <p:cNvPr id="5" name="Title 4">
            <a:extLst>
              <a:ext uri="{FF2B5EF4-FFF2-40B4-BE49-F238E27FC236}">
                <a16:creationId xmlns:a16="http://schemas.microsoft.com/office/drawing/2014/main" id="{70DAD4FF-4B4B-A937-DA20-FF8DB9DFE28D}"/>
              </a:ext>
            </a:extLst>
          </p:cNvPr>
          <p:cNvSpPr>
            <a:spLocks noGrp="1"/>
          </p:cNvSpPr>
          <p:nvPr>
            <p:ph type="title"/>
          </p:nvPr>
        </p:nvSpPr>
        <p:spPr>
          <a:xfrm>
            <a:off x="504000" y="-1"/>
            <a:ext cx="8136000" cy="771525"/>
          </a:xfrm>
        </p:spPr>
        <p:txBody>
          <a:bodyPr vert="horz"/>
          <a:lstStyle/>
          <a:p>
            <a:pPr>
              <a:defRPr sz="1600"/>
            </a:pPr>
            <a:r>
              <a:rPr lang="en-GB" dirty="0">
                <a:highlight>
                  <a:srgbClr val="FFFF00"/>
                </a:highlight>
              </a:rPr>
              <a:t>Base Price Bracket by Sector/Segment </a:t>
            </a:r>
            <a:r>
              <a:rPr lang="en-GB" dirty="0">
                <a:solidFill>
                  <a:schemeClr val="bg2">
                    <a:lumMod val="90000"/>
                  </a:schemeClr>
                </a:solidFill>
                <a:highlight>
                  <a:srgbClr val="FFFF00"/>
                </a:highlight>
              </a:rPr>
              <a:t>(Replace With SO WHAT)</a:t>
            </a:r>
          </a:p>
        </p:txBody>
      </p:sp>
      <p:sp>
        <p:nvSpPr>
          <p:cNvPr id="7" name="Date Placeholder 6">
            <a:extLst>
              <a:ext uri="{FF2B5EF4-FFF2-40B4-BE49-F238E27FC236}">
                <a16:creationId xmlns:a16="http://schemas.microsoft.com/office/drawing/2014/main" id="{7F376ADF-2BD9-9A12-D55D-E693AD04E122}"/>
              </a:ext>
            </a:extLst>
          </p:cNvPr>
          <p:cNvSpPr>
            <a:spLocks noGrp="1"/>
          </p:cNvSpPr>
          <p:nvPr>
            <p:ph type="dt" sz="half" idx="14"/>
          </p:nvPr>
        </p:nvSpPr>
        <p:spPr/>
        <p:txBody>
          <a:bodyPr/>
          <a:lstStyle/>
          <a:p>
            <a:fld id="{99125DCF-BE40-45C7-8EBD-A29B9FFEB9F3}" type="datetime1">
              <a:rPr lang="en-US" sz="500" smtClean="0"/>
              <a:t>9/8/2025</a:t>
            </a:fld>
            <a:endParaRPr lang="en-US" sz="500"/>
          </a:p>
        </p:txBody>
      </p:sp>
      <p:graphicFrame>
        <p:nvGraphicFramePr>
          <p:cNvPr id="11" name="T1-C2">
            <a:extLst>
              <a:ext uri="{FF2B5EF4-FFF2-40B4-BE49-F238E27FC236}">
                <a16:creationId xmlns:a16="http://schemas.microsoft.com/office/drawing/2014/main" id="{A1CC7902-B5D3-60D5-2C30-10D2C04AA0EF}"/>
              </a:ext>
            </a:extLst>
          </p:cNvPr>
          <p:cNvGraphicFramePr>
            <a:graphicFrameLocks/>
          </p:cNvGraphicFramePr>
          <p:nvPr>
            <p:extLst>
              <p:ext uri="{D42A27DB-BD31-4B8C-83A1-F6EECF244321}">
                <p14:modId xmlns:p14="http://schemas.microsoft.com/office/powerpoint/2010/main" val="2103061866"/>
              </p:ext>
            </p:extLst>
          </p:nvPr>
        </p:nvGraphicFramePr>
        <p:xfrm>
          <a:off x="1251272" y="1874316"/>
          <a:ext cx="839733" cy="28346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T1-C2">
            <a:extLst>
              <a:ext uri="{FF2B5EF4-FFF2-40B4-BE49-F238E27FC236}">
                <a16:creationId xmlns:a16="http://schemas.microsoft.com/office/drawing/2014/main" id="{86B96431-552C-92EB-47AE-6121A680B7CD}"/>
              </a:ext>
            </a:extLst>
          </p:cNvPr>
          <p:cNvGraphicFramePr>
            <a:graphicFrameLocks/>
          </p:cNvGraphicFramePr>
          <p:nvPr>
            <p:extLst>
              <p:ext uri="{D42A27DB-BD31-4B8C-83A1-F6EECF244321}">
                <p14:modId xmlns:p14="http://schemas.microsoft.com/office/powerpoint/2010/main" val="3476453300"/>
              </p:ext>
            </p:extLst>
          </p:nvPr>
        </p:nvGraphicFramePr>
        <p:xfrm>
          <a:off x="2138985" y="1876277"/>
          <a:ext cx="694712" cy="28346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6584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02A1C8-4964-4CAE-93D2-4FFA7871C136}">
  <ds:schemaRefs>
    <ds:schemaRef ds:uri="http://schemas.microsoft.com/sharepoint/v3/contenttype/forms"/>
  </ds:schemaRefs>
</ds:datastoreItem>
</file>

<file path=customXml/itemProps3.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9</TotalTime>
  <Words>3564</Words>
  <Application>Microsoft Office PowerPoint</Application>
  <PresentationFormat>On-screen Show (16:9)</PresentationFormat>
  <Paragraphs>1260</Paragraphs>
  <Slides>36</Slides>
  <Notes>3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lpstr>Size Bracket by Sector/Segment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08T12:3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